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45" r:id="rId2"/>
    <p:sldId id="346" r:id="rId3"/>
    <p:sldId id="355" r:id="rId4"/>
    <p:sldId id="347" r:id="rId5"/>
    <p:sldId id="356" r:id="rId6"/>
    <p:sldId id="348" r:id="rId7"/>
    <p:sldId id="350" r:id="rId8"/>
    <p:sldId id="349" r:id="rId9"/>
    <p:sldId id="357" r:id="rId10"/>
    <p:sldId id="351" r:id="rId11"/>
    <p:sldId id="358" r:id="rId12"/>
    <p:sldId id="359" r:id="rId13"/>
    <p:sldId id="360" r:id="rId14"/>
    <p:sldId id="361" r:id="rId15"/>
    <p:sldId id="352" r:id="rId16"/>
    <p:sldId id="353" r:id="rId17"/>
    <p:sldId id="362" r:id="rId18"/>
    <p:sldId id="354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3E3E"/>
    <a:srgbClr val="48CAD9"/>
    <a:srgbClr val="3DE0BC"/>
    <a:srgbClr val="105B97"/>
    <a:srgbClr val="F3BE21"/>
    <a:srgbClr val="7BA681"/>
    <a:srgbClr val="28402F"/>
    <a:srgbClr val="FF58D4"/>
    <a:srgbClr val="F4AD69"/>
    <a:srgbClr val="4984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6" autoAdjust="0"/>
    <p:restoredTop sz="94624" autoAdjust="0"/>
  </p:normalViewPr>
  <p:slideViewPr>
    <p:cSldViewPr snapToGrid="0" showGuides="1">
      <p:cViewPr varScale="1">
        <p:scale>
          <a:sx n="70" d="100"/>
          <a:sy n="70" d="100"/>
        </p:scale>
        <p:origin x="72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7/03/20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7/03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212809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985097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56155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659532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08736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154456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401335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38316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239708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8961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59128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935091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977295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07940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927984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04511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14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427E83-516A-4461-8E80-E9AA6352991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5D77DB-23A3-4ADD-BEE5-8E632CF9FCCC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47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108A02-98E2-4FE5-AAB5-1400BBFC8A6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B9C5FE-0FFA-468C-9824-40FB6DD999A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F74A31-AA1D-418D-B416-1F4772B5A2B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53B6F7-5CF8-4631-BF78-0D404A1C35A8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11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A5208-0DCA-40B3-B82C-C58053861BFF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52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3C6890-E0A1-4B08-A908-C883680C3F5A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953DA1-C1C1-4EAB-B7EA-BAD3ACB4E13F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9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AF168C-8EF0-4E5D-81FF-2CA7495E289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C22806-EF4E-452C-BC54-30966B5F5F55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239CBC-F8C8-4181-BD3C-8EF8AC61B31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58CED2-80CD-4B6D-B2E1-7B7DC14E413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7A54D6B-AD1F-4762-AC29-5F84F21768EB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17EBF4-C2AF-4CBA-8A4F-7BDB1A77B991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7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0FDC3B-FF54-45FD-8337-F815F6726BBD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599EE4-F619-48D1-9F18-C205B4BAD761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lack Background for Busines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8073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36" userDrawn="1">
          <p15:clr>
            <a:srgbClr val="F26B43"/>
          </p15:clr>
        </p15:guide>
        <p15:guide id="4" pos="734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openxmlformats.org/officeDocument/2006/relationships/image" Target="../media/image15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6.xml"/><Relationship Id="rId6" Type="http://schemas.openxmlformats.org/officeDocument/2006/relationships/image" Target="../media/image15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13" Type="http://schemas.openxmlformats.org/officeDocument/2006/relationships/image" Target="../media/image25.jp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9.jpg"/><Relationship Id="rId12" Type="http://schemas.openxmlformats.org/officeDocument/2006/relationships/image" Target="../media/image24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7.xml"/><Relationship Id="rId6" Type="http://schemas.openxmlformats.org/officeDocument/2006/relationships/image" Target="../media/image18.jpg"/><Relationship Id="rId11" Type="http://schemas.openxmlformats.org/officeDocument/2006/relationships/image" Target="../media/image23.jpg"/><Relationship Id="rId5" Type="http://schemas.openxmlformats.org/officeDocument/2006/relationships/image" Target="../media/image14.emf"/><Relationship Id="rId10" Type="http://schemas.openxmlformats.org/officeDocument/2006/relationships/image" Target="../media/image22.jp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1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7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6" Type="http://schemas.openxmlformats.org/officeDocument/2006/relationships/image" Target="../media/image26.jpg"/><Relationship Id="rId5" Type="http://schemas.openxmlformats.org/officeDocument/2006/relationships/image" Target="../media/image14.emf"/><Relationship Id="rId10" Type="http://schemas.openxmlformats.org/officeDocument/2006/relationships/image" Target="../media/image30.jp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9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1.jpg"/><Relationship Id="rId12" Type="http://schemas.openxmlformats.org/officeDocument/2006/relationships/image" Target="../media/image36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6" Type="http://schemas.openxmlformats.org/officeDocument/2006/relationships/image" Target="../media/image26.jpg"/><Relationship Id="rId11" Type="http://schemas.openxmlformats.org/officeDocument/2006/relationships/image" Target="../media/image35.jpg"/><Relationship Id="rId5" Type="http://schemas.openxmlformats.org/officeDocument/2006/relationships/image" Target="../media/image14.emf"/><Relationship Id="rId10" Type="http://schemas.openxmlformats.org/officeDocument/2006/relationships/image" Target="../media/image34.jp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3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0.xml"/><Relationship Id="rId6" Type="http://schemas.openxmlformats.org/officeDocument/2006/relationships/image" Target="../media/image38.jp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microsoft.com/office/2007/relationships/hdphoto" Target="../media/hdphoto9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eeksforgeeks.org/" TargetMode="External"/><Relationship Id="rId3" Type="http://schemas.openxmlformats.org/officeDocument/2006/relationships/image" Target="../media/image5.png"/><Relationship Id="rId7" Type="http://schemas.openxmlformats.org/officeDocument/2006/relationships/hyperlink" Target="http://www.quora.com/" TargetMode="External"/><Relationship Id="rId12" Type="http://schemas.openxmlformats.org/officeDocument/2006/relationships/hyperlink" Target="http://www.ajkerdeal.com.bd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microsoft.com/" TargetMode="External"/><Relationship Id="rId11" Type="http://schemas.openxmlformats.org/officeDocument/2006/relationships/hyperlink" Target="http://www.evaly.com.bd/" TargetMode="External"/><Relationship Id="rId5" Type="http://schemas.openxmlformats.org/officeDocument/2006/relationships/hyperlink" Target="http://www.google.com/" TargetMode="External"/><Relationship Id="rId10" Type="http://schemas.openxmlformats.org/officeDocument/2006/relationships/hyperlink" Target="http://www.daraz.com.bd/" TargetMode="External"/><Relationship Id="rId4" Type="http://schemas.microsoft.com/office/2007/relationships/hdphoto" Target="../media/hdphoto3.wdp"/><Relationship Id="rId9" Type="http://schemas.openxmlformats.org/officeDocument/2006/relationships/hyperlink" Target="http://www.programiz.com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6" Type="http://schemas.microsoft.com/office/2007/relationships/hdphoto" Target="../media/hdphoto10.wdp"/><Relationship Id="rId5" Type="http://schemas.openxmlformats.org/officeDocument/2006/relationships/image" Target="../media/image41.png"/><Relationship Id="rId4" Type="http://schemas.openxmlformats.org/officeDocument/2006/relationships/image" Target="../media/image4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microsoft.com/office/2007/relationships/hdphoto" Target="../media/hdphoto6.wdp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microsoft.com/office/2007/relationships/hdphoto" Target="../media/hdphoto8.wdp"/><Relationship Id="rId5" Type="http://schemas.openxmlformats.org/officeDocument/2006/relationships/image" Target="../media/image13.png"/><Relationship Id="rId4" Type="http://schemas.microsoft.com/office/2007/relationships/hdphoto" Target="../media/hdphoto7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91FD46-5354-4711-AB84-994D178791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E89360-ABB4-4309-AC6A-E7AFD78DE4AA}"/>
              </a:ext>
            </a:extLst>
          </p:cNvPr>
          <p:cNvSpPr/>
          <p:nvPr/>
        </p:nvSpPr>
        <p:spPr>
          <a:xfrm>
            <a:off x="0" y="-3651"/>
            <a:ext cx="12192000" cy="6858000"/>
          </a:xfrm>
          <a:prstGeom prst="rect">
            <a:avLst/>
          </a:prstGeom>
          <a:gradFill flip="none" rotWithShape="1">
            <a:gsLst>
              <a:gs pos="2400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68000">
                <a:schemeClr val="tx1">
                  <a:alpha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F95C94-CD9B-4EC4-81BD-60FF5FD081E2}"/>
              </a:ext>
            </a:extLst>
          </p:cNvPr>
          <p:cNvCxnSpPr>
            <a:cxnSpLocks/>
          </p:cNvCxnSpPr>
          <p:nvPr/>
        </p:nvCxnSpPr>
        <p:spPr>
          <a:xfrm>
            <a:off x="11640980" y="0"/>
            <a:ext cx="0" cy="150470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C6E27A4-AF72-4091-9D5E-E9527F008877}"/>
              </a:ext>
            </a:extLst>
          </p:cNvPr>
          <p:cNvCxnSpPr>
            <a:cxnSpLocks/>
          </p:cNvCxnSpPr>
          <p:nvPr/>
        </p:nvCxnSpPr>
        <p:spPr>
          <a:xfrm>
            <a:off x="11953496" y="0"/>
            <a:ext cx="0" cy="1296365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DE2F6D3-B3DD-41BA-96A1-58FC96EAFB73}"/>
              </a:ext>
            </a:extLst>
          </p:cNvPr>
          <p:cNvSpPr/>
          <p:nvPr/>
        </p:nvSpPr>
        <p:spPr>
          <a:xfrm rot="10800000">
            <a:off x="11193534" y="5588000"/>
            <a:ext cx="777570" cy="127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462644C9-9C8E-4AFE-A619-F80F5FD46B72}"/>
              </a:ext>
            </a:extLst>
          </p:cNvPr>
          <p:cNvGrpSpPr/>
          <p:nvPr/>
        </p:nvGrpSpPr>
        <p:grpSpPr>
          <a:xfrm>
            <a:off x="-28599" y="1204816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95000"/>
                </a:schemeClr>
              </a:gs>
            </a:gsLst>
            <a:lin ang="0" scaled="1"/>
          </a:gradFill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3859AC4-D4A2-45D1-A4C3-188C7ADA986E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82472DF2-3955-4F9A-8FF3-8669C4EB50B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BF2C2C12-8648-4981-8DA4-97B54A73977B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3B86E2F7-5AB7-4AF0-AACB-0AE000507A7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AEB071FD-67ED-44CC-A74E-36DC6166D56F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21CC87B-44BF-4756-AA94-C29A7564D387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D4D40BE6-BE89-40AC-A48E-614235CCD497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D6592391-B50B-4CFC-B439-BE81D950212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D631DA9-BE8D-405D-83FE-FE44F0FC05C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E43F86F-0BAD-457B-BD2C-2D063703B900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A99CC0BE-209C-4E61-8A50-E38DEDE23700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3EBDD04-FB89-4B6E-8032-CF7D42C56318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EA9CF54B-91F6-4C90-83CE-057CA0FD5399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D69B985E-5942-497F-8B8F-F6DE958B380D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B22B2E20-BD40-45AB-AE3E-11F2AD4459D4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21B39FF4-CFB7-48B8-95E1-ED5E79C3FCCA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3D4A0FA-78BD-4337-A1F1-F6D64951EAF9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5310242E-09D7-4A03-ACE1-894177649A6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FB3AE23C-04C4-4815-B1E5-02EC45663856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E212123B-C025-4B14-A4D1-1B1CD88CCF1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66AA92DD-D57E-41F8-9ED3-C7D46A5DD0B4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5BF506D-774F-4183-BCDF-3C8BAE9373DD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7FC856C-6F95-441F-B43B-72A07BAD424F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9DE27A7-E134-4FC2-A0BD-A35C114061F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D1A62704-FAC2-4690-8695-8AD9EC0C9EA9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664A7CA-7C97-4609-862B-07617BFBC3D5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11C49D0-BF81-4A92-B2D7-8DA1C28C3123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C14CABE-7EAE-44AD-A454-6CA541AB56AB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8B8CDE1C-3EAF-441B-AB9E-A2DAA4B6A37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1345F873-D8B2-4B5B-9C58-72D3A2970F7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9AF3AF24-D8D6-4CF7-BEC0-8A2E83914E47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2652F8B-4A48-45DD-8230-AD8AA35BD9D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0244E361-4F57-40CF-AEC0-CDFBE9B22B2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58096A0-7EBB-4DFB-9767-A014A2022188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AD03C29E-4BC0-433B-9A08-521BCE5163F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6ACB24BA-E4F3-44C9-9BA9-35925075BB69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83F2E134-B321-4E38-8AA2-EC3D2636ACE7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6010FFCD-B865-4A1A-8AD5-4D609E4CA241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63348965-EA9F-420C-A954-AE1E62AAD1C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F204FE37-95AB-4EBD-86F1-BAF3F8F2896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35234EF-B614-41E3-AE97-1560C5F50F70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AF0FD01-7FB5-4D00-8F86-7356082ECB35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2D44FD7E-D672-434E-A1A6-9E9B3ADEA56D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4831087-8F0F-4455-8DC4-1F46534EC653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ADA6C32D-D91D-45F6-855A-8E907D206E25}"/>
              </a:ext>
            </a:extLst>
          </p:cNvPr>
          <p:cNvSpPr/>
          <p:nvPr/>
        </p:nvSpPr>
        <p:spPr>
          <a:xfrm>
            <a:off x="0" y="2363355"/>
            <a:ext cx="4911500" cy="3071091"/>
          </a:xfrm>
          <a:prstGeom prst="rect">
            <a:avLst/>
          </a:prstGeom>
          <a:pattFill prst="ltUpDiag">
            <a:fgClr>
              <a:schemeClr val="accent6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36BB663-EFFD-4102-B429-92E56D83AE14}"/>
              </a:ext>
            </a:extLst>
          </p:cNvPr>
          <p:cNvSpPr txBox="1">
            <a:spLocks/>
          </p:cNvSpPr>
          <p:nvPr/>
        </p:nvSpPr>
        <p:spPr>
          <a:xfrm>
            <a:off x="533400" y="2760128"/>
            <a:ext cx="3881710" cy="227754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5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 Multi Shop</a:t>
            </a:r>
          </a:p>
          <a:p>
            <a:pPr>
              <a:lnSpc>
                <a:spcPct val="100000"/>
              </a:lnSpc>
            </a:pPr>
            <a:r>
              <a:rPr lang="en-US" sz="4000" b="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oject in C</a:t>
            </a:r>
            <a:endParaRPr lang="en-US" sz="6000" b="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D40C8B9-295C-453D-964F-30BBA26DF7FB}"/>
              </a:ext>
            </a:extLst>
          </p:cNvPr>
          <p:cNvSpPr/>
          <p:nvPr/>
        </p:nvSpPr>
        <p:spPr>
          <a:xfrm rot="10800000">
            <a:off x="0" y="2251470"/>
            <a:ext cx="2374900" cy="2108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114F8CA-279D-4A03-B9C9-A77B709B6FAE}"/>
              </a:ext>
            </a:extLst>
          </p:cNvPr>
          <p:cNvSpPr/>
          <p:nvPr/>
        </p:nvSpPr>
        <p:spPr>
          <a:xfrm rot="10800000">
            <a:off x="4522715" y="5079213"/>
            <a:ext cx="777570" cy="728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71C71726-7BE2-447E-B686-7A9BCC4737D5}"/>
              </a:ext>
            </a:extLst>
          </p:cNvPr>
          <p:cNvGrpSpPr/>
          <p:nvPr/>
        </p:nvGrpSpPr>
        <p:grpSpPr>
          <a:xfrm>
            <a:off x="10874570" y="4884418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3"/>
              </a:gs>
              <a:gs pos="0">
                <a:schemeClr val="tx1">
                  <a:alpha val="95000"/>
                </a:schemeClr>
              </a:gs>
            </a:gsLst>
            <a:lin ang="0" scaled="1"/>
          </a:gradFill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453AC8D1-9726-411A-B5BB-7D52A1853C5C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EC021E79-1869-42BA-B0DE-583D629DB59B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B5CD89E4-B344-47E1-B422-63D4C789939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C4FB51EF-35CF-4BF3-881A-53465BCF6A1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14438DB7-29CF-4182-86F1-903624C3B277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17609B6E-48F0-4FA9-92B6-A64E87903CDA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C472732E-B529-4A93-83D6-5ABE399B219F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249E6F4D-5972-4F1D-9AF5-9CBEB167221A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DDB655B8-ADC0-4DDD-82B6-51EB75B79C4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D1AFCDA8-4F96-400D-A416-AB45C3528FAB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3A95CF27-02E1-46EE-90FA-D207AEBF398D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E8E73E80-F1CE-4B10-8683-B9EEE584E91E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F06F281B-03C7-4DFD-8FBA-FC487D6F73B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42A28A2D-9F81-48E7-BD9F-BC28A382805B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E16AE97F-353E-4BEE-A547-C5ED19F5E5E2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B1F42D5A-4219-4099-A3DA-BCEB22117F3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DA1B87EB-5F13-43C6-B56C-7C5963FFDA9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8D8BB05C-800B-49F9-A92A-812B065F135A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764A4D89-70BA-4AFB-A01E-3F912CC667F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7EF3500F-C8C1-4BEE-ACCA-0695D6593A9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490171FB-02C0-4426-A789-8B337ECCCA9F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E701BAEB-1ADB-4C9D-A84D-E29BB04D6B87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D32C1DA0-D80D-4AC7-925B-9C6FFA02994C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530131A-CFE9-4870-8643-33BC29394E7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A21BA44F-5F26-402E-BE00-829C0684AF0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4F7CB3E8-7BC6-4980-90CE-D1CFCA4FF48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D93C76E9-6A8A-45CD-BD51-F9DFD310A6A2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5AADEDA-5EA5-47E4-A057-F3B9EA45768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BC4B8F62-17B4-40E8-A2A5-0BDEA97D513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96C30A71-70C4-416A-96B5-C9BEF288A063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EF9E255F-282F-46A3-B4A8-7E3E5E1BC7D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A1B31A61-A17A-469B-ABF0-AEB36EB0597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39AF114E-0BD4-48A0-BD21-FC9B0257269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973D475-3B88-4221-AB26-781CB015A183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75E12B52-8781-4DEB-90A5-8438F6106BBB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C717E4F3-5AD7-40F8-ACA7-493A433EAA51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9A5329BB-3A93-4C7B-8791-73486946846C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94165604-DBB5-4B8A-9E85-3A22183FAB3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61BF02F9-DCDA-44D9-A5D3-99747F1F4092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201D8996-5F0C-4F73-89A1-E5BA7D3C242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3B58AD7-F7C4-4F3A-975C-077050BF6D8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18BAF9FB-B0CA-49F1-9D1F-FD8A8DFDA63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4C9B3B5-1C0F-4D0C-9055-2BF9B0D25C7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BC0DB86-654B-4DC7-A0AE-A75968E16CC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13ECB4B-570D-477D-8055-BB9516A3D3AF}"/>
              </a:ext>
            </a:extLst>
          </p:cNvPr>
          <p:cNvCxnSpPr>
            <a:cxnSpLocks/>
          </p:cNvCxnSpPr>
          <p:nvPr/>
        </p:nvCxnSpPr>
        <p:spPr>
          <a:xfrm>
            <a:off x="11259016" y="0"/>
            <a:ext cx="0" cy="528963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7828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7101138B-5CB1-9447-B76A-C3569D786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1447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B332C908-8DF8-774B-AAB8-F56DF4093155}"/>
              </a:ext>
            </a:extLst>
          </p:cNvPr>
          <p:cNvSpPr/>
          <p:nvPr/>
        </p:nvSpPr>
        <p:spPr>
          <a:xfrm>
            <a:off x="7188201" y="660611"/>
            <a:ext cx="5003799" cy="5194301"/>
          </a:xfrm>
          <a:custGeom>
            <a:avLst/>
            <a:gdLst>
              <a:gd name="connsiteX0" fmla="*/ 5003799 w 5003799"/>
              <a:gd name="connsiteY0" fmla="*/ 0 h 5194301"/>
              <a:gd name="connsiteX1" fmla="*/ 5003799 w 5003799"/>
              <a:gd name="connsiteY1" fmla="*/ 5194301 h 5194301"/>
              <a:gd name="connsiteX2" fmla="*/ 5003798 w 5003799"/>
              <a:gd name="connsiteY2" fmla="*/ 5194301 h 5194301"/>
              <a:gd name="connsiteX3" fmla="*/ 5003798 w 5003799"/>
              <a:gd name="connsiteY3" fmla="*/ 1948181 h 5194301"/>
              <a:gd name="connsiteX4" fmla="*/ 1757678 w 5003799"/>
              <a:gd name="connsiteY4" fmla="*/ 5194301 h 5194301"/>
              <a:gd name="connsiteX5" fmla="*/ 4817 w 5003799"/>
              <a:gd name="connsiteY5" fmla="*/ 5194301 h 5194301"/>
              <a:gd name="connsiteX6" fmla="*/ 0 w 5003799"/>
              <a:gd name="connsiteY6" fmla="*/ 5003800 h 5194301"/>
              <a:gd name="connsiteX7" fmla="*/ 5003799 w 5003799"/>
              <a:gd name="connsiteY7" fmla="*/ 0 h 519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3799" h="5194301">
                <a:moveTo>
                  <a:pt x="5003799" y="0"/>
                </a:moveTo>
                <a:lnTo>
                  <a:pt x="5003799" y="5194301"/>
                </a:lnTo>
                <a:lnTo>
                  <a:pt x="5003798" y="5194301"/>
                </a:lnTo>
                <a:lnTo>
                  <a:pt x="5003798" y="1948181"/>
                </a:lnTo>
                <a:cubicBezTo>
                  <a:pt x="3211015" y="1948181"/>
                  <a:pt x="1757678" y="3401518"/>
                  <a:pt x="1757678" y="5194301"/>
                </a:cubicBezTo>
                <a:lnTo>
                  <a:pt x="4817" y="5194301"/>
                </a:lnTo>
                <a:lnTo>
                  <a:pt x="0" y="5003800"/>
                </a:lnTo>
                <a:cubicBezTo>
                  <a:pt x="0" y="2240278"/>
                  <a:pt x="2240277" y="0"/>
                  <a:pt x="5003799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15C8EF4-BE7A-2240-97D0-35182C93178A}"/>
              </a:ext>
            </a:extLst>
          </p:cNvPr>
          <p:cNvGrpSpPr/>
          <p:nvPr/>
        </p:nvGrpSpPr>
        <p:grpSpPr>
          <a:xfrm>
            <a:off x="510251" y="6398378"/>
            <a:ext cx="804758" cy="144689"/>
            <a:chOff x="4455886" y="479425"/>
            <a:chExt cx="804758" cy="14468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1CF4CC-0C63-BC49-985C-046A8F1570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CB38C0B-9E71-CF4B-A1C3-D4A98E2F3C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D5EF914-2AA5-A648-B8FF-9216ACEB6A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7EA73EE-4645-BD4D-BD31-A72B56E9D9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19FAB01-DA59-274C-913E-E6FE1A4476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6DECE3-88A2-DF4E-BF8B-A1589D7B9C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C05C889-F6A6-9747-8D76-00B399714C10}"/>
              </a:ext>
            </a:extLst>
          </p:cNvPr>
          <p:cNvCxnSpPr>
            <a:cxnSpLocks/>
          </p:cNvCxnSpPr>
          <p:nvPr/>
        </p:nvCxnSpPr>
        <p:spPr>
          <a:xfrm flipH="1">
            <a:off x="-23148" y="6470722"/>
            <a:ext cx="308918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CA621CA-50E8-4205-A54E-77DF2CDBDA1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25" t="2945" r="23004" b="36303"/>
          <a:stretch/>
        </p:blipFill>
        <p:spPr>
          <a:xfrm>
            <a:off x="2592279" y="273109"/>
            <a:ext cx="3888679" cy="241198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002E5BFD-9F52-4A6B-BD04-E54B0AF78E97}"/>
              </a:ext>
            </a:extLst>
          </p:cNvPr>
          <p:cNvSpPr/>
          <p:nvPr/>
        </p:nvSpPr>
        <p:spPr>
          <a:xfrm>
            <a:off x="6716706" y="902825"/>
            <a:ext cx="1280932" cy="833377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BA5835-E2C8-4E33-8BA6-9061DF5155B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0" r="33115"/>
          <a:stretch/>
        </p:blipFill>
        <p:spPr>
          <a:xfrm>
            <a:off x="8469133" y="273109"/>
            <a:ext cx="3251372" cy="531206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F04C458-DB00-4B02-BF45-ADC6AC42BD66}"/>
              </a:ext>
            </a:extLst>
          </p:cNvPr>
          <p:cNvSpPr txBox="1"/>
          <p:nvPr/>
        </p:nvSpPr>
        <p:spPr>
          <a:xfrm>
            <a:off x="616003" y="3362179"/>
            <a:ext cx="573247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Enter Your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Full Name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obile Number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ddress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-mail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sername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asswor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744A94-31D9-472B-9B20-7D9455010433}"/>
              </a:ext>
            </a:extLst>
          </p:cNvPr>
          <p:cNvSpPr/>
          <p:nvPr/>
        </p:nvSpPr>
        <p:spPr>
          <a:xfrm>
            <a:off x="8290100" y="5934321"/>
            <a:ext cx="3634180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BA1B0-CC01-4F87-82B2-5CF33FAEE43E}"/>
              </a:ext>
            </a:extLst>
          </p:cNvPr>
          <p:cNvSpPr txBox="1"/>
          <p:nvPr/>
        </p:nvSpPr>
        <p:spPr>
          <a:xfrm>
            <a:off x="8360928" y="5874223"/>
            <a:ext cx="3634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register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12EE4CE-B831-414E-B2D6-4870A46EA742}"/>
              </a:ext>
            </a:extLst>
          </p:cNvPr>
          <p:cNvCxnSpPr>
            <a:cxnSpLocks/>
          </p:cNvCxnSpPr>
          <p:nvPr/>
        </p:nvCxnSpPr>
        <p:spPr>
          <a:xfrm>
            <a:off x="6115291" y="3210413"/>
            <a:ext cx="0" cy="315589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9AE8973-750F-4790-BF95-AFB913A4E7CE}"/>
              </a:ext>
            </a:extLst>
          </p:cNvPr>
          <p:cNvCxnSpPr>
            <a:cxnSpLocks/>
          </p:cNvCxnSpPr>
          <p:nvPr/>
        </p:nvCxnSpPr>
        <p:spPr>
          <a:xfrm>
            <a:off x="2025570" y="3203064"/>
            <a:ext cx="40897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001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7101138B-5CB1-9447-B76A-C3569D786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7101138B-5CB1-9447-B76A-C3569D786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B332C908-8DF8-774B-AAB8-F56DF4093155}"/>
              </a:ext>
            </a:extLst>
          </p:cNvPr>
          <p:cNvSpPr/>
          <p:nvPr/>
        </p:nvSpPr>
        <p:spPr>
          <a:xfrm>
            <a:off x="7188201" y="660611"/>
            <a:ext cx="5003799" cy="5194301"/>
          </a:xfrm>
          <a:custGeom>
            <a:avLst/>
            <a:gdLst>
              <a:gd name="connsiteX0" fmla="*/ 5003799 w 5003799"/>
              <a:gd name="connsiteY0" fmla="*/ 0 h 5194301"/>
              <a:gd name="connsiteX1" fmla="*/ 5003799 w 5003799"/>
              <a:gd name="connsiteY1" fmla="*/ 5194301 h 5194301"/>
              <a:gd name="connsiteX2" fmla="*/ 5003798 w 5003799"/>
              <a:gd name="connsiteY2" fmla="*/ 5194301 h 5194301"/>
              <a:gd name="connsiteX3" fmla="*/ 5003798 w 5003799"/>
              <a:gd name="connsiteY3" fmla="*/ 1948181 h 5194301"/>
              <a:gd name="connsiteX4" fmla="*/ 1757678 w 5003799"/>
              <a:gd name="connsiteY4" fmla="*/ 5194301 h 5194301"/>
              <a:gd name="connsiteX5" fmla="*/ 4817 w 5003799"/>
              <a:gd name="connsiteY5" fmla="*/ 5194301 h 5194301"/>
              <a:gd name="connsiteX6" fmla="*/ 0 w 5003799"/>
              <a:gd name="connsiteY6" fmla="*/ 5003800 h 5194301"/>
              <a:gd name="connsiteX7" fmla="*/ 5003799 w 5003799"/>
              <a:gd name="connsiteY7" fmla="*/ 0 h 519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3799" h="5194301">
                <a:moveTo>
                  <a:pt x="5003799" y="0"/>
                </a:moveTo>
                <a:lnTo>
                  <a:pt x="5003799" y="5194301"/>
                </a:lnTo>
                <a:lnTo>
                  <a:pt x="5003798" y="5194301"/>
                </a:lnTo>
                <a:lnTo>
                  <a:pt x="5003798" y="1948181"/>
                </a:lnTo>
                <a:cubicBezTo>
                  <a:pt x="3211015" y="1948181"/>
                  <a:pt x="1757678" y="3401518"/>
                  <a:pt x="1757678" y="5194301"/>
                </a:cubicBezTo>
                <a:lnTo>
                  <a:pt x="4817" y="5194301"/>
                </a:lnTo>
                <a:lnTo>
                  <a:pt x="0" y="5003800"/>
                </a:lnTo>
                <a:cubicBezTo>
                  <a:pt x="0" y="2240278"/>
                  <a:pt x="2240277" y="0"/>
                  <a:pt x="5003799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15C8EF4-BE7A-2240-97D0-35182C93178A}"/>
              </a:ext>
            </a:extLst>
          </p:cNvPr>
          <p:cNvGrpSpPr/>
          <p:nvPr/>
        </p:nvGrpSpPr>
        <p:grpSpPr>
          <a:xfrm>
            <a:off x="510251" y="6398378"/>
            <a:ext cx="804758" cy="144689"/>
            <a:chOff x="4455886" y="479425"/>
            <a:chExt cx="804758" cy="14468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1CF4CC-0C63-BC49-985C-046A8F1570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CB38C0B-9E71-CF4B-A1C3-D4A98E2F3C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D5EF914-2AA5-A648-B8FF-9216ACEB6A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7EA73EE-4645-BD4D-BD31-A72B56E9D9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19FAB01-DA59-274C-913E-E6FE1A4476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6DECE3-88A2-DF4E-BF8B-A1589D7B9C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C05C889-F6A6-9747-8D76-00B399714C10}"/>
              </a:ext>
            </a:extLst>
          </p:cNvPr>
          <p:cNvCxnSpPr>
            <a:cxnSpLocks/>
          </p:cNvCxnSpPr>
          <p:nvPr/>
        </p:nvCxnSpPr>
        <p:spPr>
          <a:xfrm flipH="1">
            <a:off x="-23148" y="6470722"/>
            <a:ext cx="308918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CA621CA-50E8-4205-A54E-77DF2CDBDA1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25" t="2945" r="23004" b="36303"/>
          <a:stretch/>
        </p:blipFill>
        <p:spPr>
          <a:xfrm>
            <a:off x="1167054" y="371249"/>
            <a:ext cx="3888679" cy="241198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002E5BFD-9F52-4A6B-BD04-E54B0AF78E97}"/>
              </a:ext>
            </a:extLst>
          </p:cNvPr>
          <p:cNvSpPr/>
          <p:nvPr/>
        </p:nvSpPr>
        <p:spPr>
          <a:xfrm>
            <a:off x="5789392" y="1174594"/>
            <a:ext cx="1280932" cy="833377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04C458-DB00-4B02-BF45-ADC6AC42BD66}"/>
              </a:ext>
            </a:extLst>
          </p:cNvPr>
          <p:cNvSpPr txBox="1"/>
          <p:nvPr/>
        </p:nvSpPr>
        <p:spPr>
          <a:xfrm>
            <a:off x="616003" y="3654936"/>
            <a:ext cx="57324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Enter Your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ser Name</a:t>
            </a:r>
          </a:p>
          <a:p>
            <a:pPr marL="2286000" lvl="4" indent="-45720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asswor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744A94-31D9-472B-9B20-7D9455010433}"/>
              </a:ext>
            </a:extLst>
          </p:cNvPr>
          <p:cNvSpPr/>
          <p:nvPr/>
        </p:nvSpPr>
        <p:spPr>
          <a:xfrm>
            <a:off x="7421384" y="4747174"/>
            <a:ext cx="3557030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BA1B0-CC01-4F87-82B2-5CF33FAEE43E}"/>
              </a:ext>
            </a:extLst>
          </p:cNvPr>
          <p:cNvSpPr txBox="1"/>
          <p:nvPr/>
        </p:nvSpPr>
        <p:spPr>
          <a:xfrm>
            <a:off x="7560902" y="4716765"/>
            <a:ext cx="3417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sign in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12EE4CE-B831-414E-B2D6-4870A46EA742}"/>
              </a:ext>
            </a:extLst>
          </p:cNvPr>
          <p:cNvCxnSpPr>
            <a:cxnSpLocks/>
          </p:cNvCxnSpPr>
          <p:nvPr/>
        </p:nvCxnSpPr>
        <p:spPr>
          <a:xfrm>
            <a:off x="6115291" y="3210413"/>
            <a:ext cx="0" cy="315589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9AE8973-750F-4790-BF95-AFB913A4E7CE}"/>
              </a:ext>
            </a:extLst>
          </p:cNvPr>
          <p:cNvCxnSpPr>
            <a:cxnSpLocks/>
          </p:cNvCxnSpPr>
          <p:nvPr/>
        </p:nvCxnSpPr>
        <p:spPr>
          <a:xfrm>
            <a:off x="2025570" y="3203064"/>
            <a:ext cx="40897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176A08D-3A77-47F3-9AA0-DF8A5B523AB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46" t="172" r="15805" b="19809"/>
          <a:stretch/>
        </p:blipFill>
        <p:spPr>
          <a:xfrm>
            <a:off x="7454599" y="371249"/>
            <a:ext cx="4108510" cy="270701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772136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/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7101138B-5CB1-9447-B76A-C3569D786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7101138B-5CB1-9447-B76A-C3569D786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B332C908-8DF8-774B-AAB8-F56DF4093155}"/>
              </a:ext>
            </a:extLst>
          </p:cNvPr>
          <p:cNvSpPr/>
          <p:nvPr/>
        </p:nvSpPr>
        <p:spPr>
          <a:xfrm>
            <a:off x="7188201" y="660611"/>
            <a:ext cx="5003799" cy="5194301"/>
          </a:xfrm>
          <a:custGeom>
            <a:avLst/>
            <a:gdLst>
              <a:gd name="connsiteX0" fmla="*/ 5003799 w 5003799"/>
              <a:gd name="connsiteY0" fmla="*/ 0 h 5194301"/>
              <a:gd name="connsiteX1" fmla="*/ 5003799 w 5003799"/>
              <a:gd name="connsiteY1" fmla="*/ 5194301 h 5194301"/>
              <a:gd name="connsiteX2" fmla="*/ 5003798 w 5003799"/>
              <a:gd name="connsiteY2" fmla="*/ 5194301 h 5194301"/>
              <a:gd name="connsiteX3" fmla="*/ 5003798 w 5003799"/>
              <a:gd name="connsiteY3" fmla="*/ 1948181 h 5194301"/>
              <a:gd name="connsiteX4" fmla="*/ 1757678 w 5003799"/>
              <a:gd name="connsiteY4" fmla="*/ 5194301 h 5194301"/>
              <a:gd name="connsiteX5" fmla="*/ 4817 w 5003799"/>
              <a:gd name="connsiteY5" fmla="*/ 5194301 h 5194301"/>
              <a:gd name="connsiteX6" fmla="*/ 0 w 5003799"/>
              <a:gd name="connsiteY6" fmla="*/ 5003800 h 5194301"/>
              <a:gd name="connsiteX7" fmla="*/ 5003799 w 5003799"/>
              <a:gd name="connsiteY7" fmla="*/ 0 h 519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3799" h="5194301">
                <a:moveTo>
                  <a:pt x="5003799" y="0"/>
                </a:moveTo>
                <a:lnTo>
                  <a:pt x="5003799" y="5194301"/>
                </a:lnTo>
                <a:lnTo>
                  <a:pt x="5003798" y="5194301"/>
                </a:lnTo>
                <a:lnTo>
                  <a:pt x="5003798" y="1948181"/>
                </a:lnTo>
                <a:cubicBezTo>
                  <a:pt x="3211015" y="1948181"/>
                  <a:pt x="1757678" y="3401518"/>
                  <a:pt x="1757678" y="5194301"/>
                </a:cubicBezTo>
                <a:lnTo>
                  <a:pt x="4817" y="5194301"/>
                </a:lnTo>
                <a:lnTo>
                  <a:pt x="0" y="5003800"/>
                </a:lnTo>
                <a:cubicBezTo>
                  <a:pt x="0" y="2240278"/>
                  <a:pt x="2240277" y="0"/>
                  <a:pt x="5003799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15C8EF4-BE7A-2240-97D0-35182C93178A}"/>
              </a:ext>
            </a:extLst>
          </p:cNvPr>
          <p:cNvGrpSpPr/>
          <p:nvPr/>
        </p:nvGrpSpPr>
        <p:grpSpPr>
          <a:xfrm>
            <a:off x="3420519" y="6378016"/>
            <a:ext cx="804758" cy="144689"/>
            <a:chOff x="4455886" y="479425"/>
            <a:chExt cx="804758" cy="14468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1CF4CC-0C63-BC49-985C-046A8F1570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CB38C0B-9E71-CF4B-A1C3-D4A98E2F3C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D5EF914-2AA5-A648-B8FF-9216ACEB6A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7EA73EE-4645-BD4D-BD31-A72B56E9D9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19FAB01-DA59-274C-913E-E6FE1A4476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6DECE3-88A2-DF4E-BF8B-A1589D7B9C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C05C889-F6A6-9747-8D76-00B399714C10}"/>
              </a:ext>
            </a:extLst>
          </p:cNvPr>
          <p:cNvCxnSpPr>
            <a:cxnSpLocks/>
          </p:cNvCxnSpPr>
          <p:nvPr/>
        </p:nvCxnSpPr>
        <p:spPr>
          <a:xfrm flipH="1">
            <a:off x="4335001" y="6439037"/>
            <a:ext cx="308918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002E5BFD-9F52-4A6B-BD04-E54B0AF78E97}"/>
              </a:ext>
            </a:extLst>
          </p:cNvPr>
          <p:cNvSpPr/>
          <p:nvPr/>
        </p:nvSpPr>
        <p:spPr>
          <a:xfrm>
            <a:off x="3479637" y="887136"/>
            <a:ext cx="774654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744A94-31D9-472B-9B20-7D9455010433}"/>
              </a:ext>
            </a:extLst>
          </p:cNvPr>
          <p:cNvSpPr/>
          <p:nvPr/>
        </p:nvSpPr>
        <p:spPr>
          <a:xfrm>
            <a:off x="5751134" y="5368847"/>
            <a:ext cx="5090161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BA1B0-CC01-4F87-82B2-5CF33FAEE43E}"/>
              </a:ext>
            </a:extLst>
          </p:cNvPr>
          <p:cNvSpPr txBox="1"/>
          <p:nvPr/>
        </p:nvSpPr>
        <p:spPr>
          <a:xfrm>
            <a:off x="5893057" y="5340301"/>
            <a:ext cx="52186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buy a product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CF3A25-9E93-4A4A-8B31-14A931C91FA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7" t="6594" r="17235" b="42423"/>
          <a:stretch/>
        </p:blipFill>
        <p:spPr>
          <a:xfrm>
            <a:off x="228686" y="80680"/>
            <a:ext cx="3059010" cy="1612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4DA80D-BF90-40E2-A0F8-7C24FF1FE19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1" t="12589" r="16463" b="41034"/>
          <a:stretch/>
        </p:blipFill>
        <p:spPr>
          <a:xfrm>
            <a:off x="4335001" y="80680"/>
            <a:ext cx="3409430" cy="16268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B188FA9-31D3-4699-81DB-9C405FE724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1" t="8445" r="8926" b="20988"/>
          <a:stretch/>
        </p:blipFill>
        <p:spPr>
          <a:xfrm>
            <a:off x="8852848" y="82182"/>
            <a:ext cx="2884811" cy="16400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Arrow: Right 33">
            <a:extLst>
              <a:ext uri="{FF2B5EF4-FFF2-40B4-BE49-F238E27FC236}">
                <a16:creationId xmlns:a16="http://schemas.microsoft.com/office/drawing/2014/main" id="{D880C088-5312-40A9-8271-7A252373277E}"/>
              </a:ext>
            </a:extLst>
          </p:cNvPr>
          <p:cNvSpPr/>
          <p:nvPr/>
        </p:nvSpPr>
        <p:spPr>
          <a:xfrm>
            <a:off x="7955458" y="887136"/>
            <a:ext cx="774654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F7CA0710-1B4D-492B-B32B-C31E6BDBD51A}"/>
              </a:ext>
            </a:extLst>
          </p:cNvPr>
          <p:cNvSpPr/>
          <p:nvPr/>
        </p:nvSpPr>
        <p:spPr>
          <a:xfrm rot="5400000">
            <a:off x="10110913" y="1652808"/>
            <a:ext cx="368680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6CAD3BA-D89B-4DB2-ADFC-A7D099E2308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8" t="19409" r="32405" b="29166"/>
          <a:stretch/>
        </p:blipFill>
        <p:spPr>
          <a:xfrm>
            <a:off x="8990383" y="2146891"/>
            <a:ext cx="2951852" cy="19359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6EF250A-2235-452B-9F6A-20BB180A11B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9" t="3607" r="25814" b="27556"/>
          <a:stretch/>
        </p:blipFill>
        <p:spPr>
          <a:xfrm>
            <a:off x="5121527" y="2143745"/>
            <a:ext cx="2619425" cy="2000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3FD5E867-D3B3-4E4D-B239-8B8A6C646934}"/>
              </a:ext>
            </a:extLst>
          </p:cNvPr>
          <p:cNvSpPr/>
          <p:nvPr/>
        </p:nvSpPr>
        <p:spPr>
          <a:xfrm rot="10800000">
            <a:off x="7999632" y="2757830"/>
            <a:ext cx="774655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AD4D196-DEFB-45EF-88C9-965D524BDBA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80" t="12657" r="44344" b="10640"/>
          <a:stretch/>
        </p:blipFill>
        <p:spPr>
          <a:xfrm>
            <a:off x="2647655" y="2143745"/>
            <a:ext cx="1551007" cy="21192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6E0B8D3-BCEA-49F6-8133-FC940E3C67F3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2" t="10970" r="51529" b="32321"/>
          <a:stretch/>
        </p:blipFill>
        <p:spPr>
          <a:xfrm>
            <a:off x="249765" y="2084414"/>
            <a:ext cx="1555251" cy="21192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B0941EC-940B-4615-BFA8-F0DEE423395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15864" r="24146" b="21350"/>
          <a:stretch/>
        </p:blipFill>
        <p:spPr>
          <a:xfrm>
            <a:off x="341200" y="4761354"/>
            <a:ext cx="2698657" cy="18769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" name="Arrow: Right 39">
            <a:extLst>
              <a:ext uri="{FF2B5EF4-FFF2-40B4-BE49-F238E27FC236}">
                <a16:creationId xmlns:a16="http://schemas.microsoft.com/office/drawing/2014/main" id="{5B708A91-A948-4C53-BF39-432CABD82894}"/>
              </a:ext>
            </a:extLst>
          </p:cNvPr>
          <p:cNvSpPr/>
          <p:nvPr/>
        </p:nvSpPr>
        <p:spPr>
          <a:xfrm rot="10800000">
            <a:off x="4414757" y="2951164"/>
            <a:ext cx="598721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75F1E135-A0EF-4086-BEE2-4F12B703EEAB}"/>
              </a:ext>
            </a:extLst>
          </p:cNvPr>
          <p:cNvSpPr/>
          <p:nvPr/>
        </p:nvSpPr>
        <p:spPr>
          <a:xfrm rot="10800000">
            <a:off x="1940886" y="2920876"/>
            <a:ext cx="598721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21062D69-515C-4FA2-9B30-42B1E47EA829}"/>
              </a:ext>
            </a:extLst>
          </p:cNvPr>
          <p:cNvSpPr/>
          <p:nvPr/>
        </p:nvSpPr>
        <p:spPr>
          <a:xfrm rot="5400000">
            <a:off x="843050" y="4151734"/>
            <a:ext cx="368680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033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0"/>
                            </p:stCondLst>
                            <p:childTnLst>
                              <p:par>
                                <p:cTn id="4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/>
      <p:bldP spid="34" grpId="0" animBg="1"/>
      <p:bldP spid="35" grpId="0" animBg="1"/>
      <p:bldP spid="36" grpId="0" animBg="1"/>
      <p:bldP spid="40" grpId="0" animBg="1"/>
      <p:bldP spid="41" grpId="0" animBg="1"/>
      <p:bldP spid="4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7101138B-5CB1-9447-B76A-C3569D786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7101138B-5CB1-9447-B76A-C3569D786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B332C908-8DF8-774B-AAB8-F56DF4093155}"/>
              </a:ext>
            </a:extLst>
          </p:cNvPr>
          <p:cNvSpPr/>
          <p:nvPr/>
        </p:nvSpPr>
        <p:spPr>
          <a:xfrm>
            <a:off x="7188201" y="660611"/>
            <a:ext cx="5003799" cy="5194301"/>
          </a:xfrm>
          <a:custGeom>
            <a:avLst/>
            <a:gdLst>
              <a:gd name="connsiteX0" fmla="*/ 5003799 w 5003799"/>
              <a:gd name="connsiteY0" fmla="*/ 0 h 5194301"/>
              <a:gd name="connsiteX1" fmla="*/ 5003799 w 5003799"/>
              <a:gd name="connsiteY1" fmla="*/ 5194301 h 5194301"/>
              <a:gd name="connsiteX2" fmla="*/ 5003798 w 5003799"/>
              <a:gd name="connsiteY2" fmla="*/ 5194301 h 5194301"/>
              <a:gd name="connsiteX3" fmla="*/ 5003798 w 5003799"/>
              <a:gd name="connsiteY3" fmla="*/ 1948181 h 5194301"/>
              <a:gd name="connsiteX4" fmla="*/ 1757678 w 5003799"/>
              <a:gd name="connsiteY4" fmla="*/ 5194301 h 5194301"/>
              <a:gd name="connsiteX5" fmla="*/ 4817 w 5003799"/>
              <a:gd name="connsiteY5" fmla="*/ 5194301 h 5194301"/>
              <a:gd name="connsiteX6" fmla="*/ 0 w 5003799"/>
              <a:gd name="connsiteY6" fmla="*/ 5003800 h 5194301"/>
              <a:gd name="connsiteX7" fmla="*/ 5003799 w 5003799"/>
              <a:gd name="connsiteY7" fmla="*/ 0 h 519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3799" h="5194301">
                <a:moveTo>
                  <a:pt x="5003799" y="0"/>
                </a:moveTo>
                <a:lnTo>
                  <a:pt x="5003799" y="5194301"/>
                </a:lnTo>
                <a:lnTo>
                  <a:pt x="5003798" y="5194301"/>
                </a:lnTo>
                <a:lnTo>
                  <a:pt x="5003798" y="1948181"/>
                </a:lnTo>
                <a:cubicBezTo>
                  <a:pt x="3211015" y="1948181"/>
                  <a:pt x="1757678" y="3401518"/>
                  <a:pt x="1757678" y="5194301"/>
                </a:cubicBezTo>
                <a:lnTo>
                  <a:pt x="4817" y="5194301"/>
                </a:lnTo>
                <a:lnTo>
                  <a:pt x="0" y="5003800"/>
                </a:lnTo>
                <a:cubicBezTo>
                  <a:pt x="0" y="2240278"/>
                  <a:pt x="2240277" y="0"/>
                  <a:pt x="5003799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15C8EF4-BE7A-2240-97D0-35182C93178A}"/>
              </a:ext>
            </a:extLst>
          </p:cNvPr>
          <p:cNvGrpSpPr/>
          <p:nvPr/>
        </p:nvGrpSpPr>
        <p:grpSpPr>
          <a:xfrm>
            <a:off x="382679" y="6457018"/>
            <a:ext cx="804758" cy="144689"/>
            <a:chOff x="4455886" y="479425"/>
            <a:chExt cx="804758" cy="14468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1CF4CC-0C63-BC49-985C-046A8F1570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CB38C0B-9E71-CF4B-A1C3-D4A98E2F3C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D5EF914-2AA5-A648-B8FF-9216ACEB6A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7EA73EE-4645-BD4D-BD31-A72B56E9D9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19FAB01-DA59-274C-913E-E6FE1A4476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6DECE3-88A2-DF4E-BF8B-A1589D7B9C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C05C889-F6A6-9747-8D76-00B399714C10}"/>
              </a:ext>
            </a:extLst>
          </p:cNvPr>
          <p:cNvCxnSpPr>
            <a:cxnSpLocks/>
          </p:cNvCxnSpPr>
          <p:nvPr/>
        </p:nvCxnSpPr>
        <p:spPr>
          <a:xfrm flipH="1">
            <a:off x="1276841" y="6516799"/>
            <a:ext cx="308918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002E5BFD-9F52-4A6B-BD04-E54B0AF78E97}"/>
              </a:ext>
            </a:extLst>
          </p:cNvPr>
          <p:cNvSpPr/>
          <p:nvPr/>
        </p:nvSpPr>
        <p:spPr>
          <a:xfrm>
            <a:off x="3381217" y="1878931"/>
            <a:ext cx="626415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BA1B0-CC01-4F87-82B2-5CF33FAEE43E}"/>
              </a:ext>
            </a:extLst>
          </p:cNvPr>
          <p:cNvSpPr txBox="1"/>
          <p:nvPr/>
        </p:nvSpPr>
        <p:spPr>
          <a:xfrm>
            <a:off x="3883937" y="327459"/>
            <a:ext cx="3962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add item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CF3A25-9E93-4A4A-8B31-14A931C91FA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t="4236" r="-317" b="34364"/>
          <a:stretch/>
        </p:blipFill>
        <p:spPr>
          <a:xfrm>
            <a:off x="169545" y="1468715"/>
            <a:ext cx="3059010" cy="1612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4DA80D-BF90-40E2-A0F8-7C24FF1FE19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" t="238" r="-453" b="7396"/>
          <a:stretch/>
        </p:blipFill>
        <p:spPr>
          <a:xfrm>
            <a:off x="4160294" y="1410757"/>
            <a:ext cx="3409430" cy="16268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B188FA9-31D3-4699-81DB-9C405FE724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9" t="-3891" r="2923" b="3891"/>
          <a:stretch/>
        </p:blipFill>
        <p:spPr>
          <a:xfrm>
            <a:off x="8498804" y="1397602"/>
            <a:ext cx="3544269" cy="16400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Arrow: Right 33">
            <a:extLst>
              <a:ext uri="{FF2B5EF4-FFF2-40B4-BE49-F238E27FC236}">
                <a16:creationId xmlns:a16="http://schemas.microsoft.com/office/drawing/2014/main" id="{D880C088-5312-40A9-8271-7A252373277E}"/>
              </a:ext>
            </a:extLst>
          </p:cNvPr>
          <p:cNvSpPr/>
          <p:nvPr/>
        </p:nvSpPr>
        <p:spPr>
          <a:xfrm>
            <a:off x="7773482" y="1892307"/>
            <a:ext cx="616450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FEF44CD9-DB36-4085-BA51-DCE1CD9D3F9F}"/>
              </a:ext>
            </a:extLst>
          </p:cNvPr>
          <p:cNvSpPr/>
          <p:nvPr/>
        </p:nvSpPr>
        <p:spPr>
          <a:xfrm>
            <a:off x="3381217" y="4935973"/>
            <a:ext cx="626415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A8812838-DBA4-4AC2-AE3F-2668984E28A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t="4236" r="-317" b="34364"/>
          <a:stretch/>
        </p:blipFill>
        <p:spPr>
          <a:xfrm>
            <a:off x="169545" y="4525757"/>
            <a:ext cx="3059010" cy="1612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ECAD5BE-8B59-4254-9992-F176E9811C9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7" t="542" r="10647" b="-542"/>
          <a:stretch/>
        </p:blipFill>
        <p:spPr>
          <a:xfrm>
            <a:off x="4160294" y="4467799"/>
            <a:ext cx="3409430" cy="16268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51DEE62-6BCC-4917-AC47-5F108B2396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4" r="7884"/>
          <a:stretch/>
        </p:blipFill>
        <p:spPr>
          <a:xfrm>
            <a:off x="8498804" y="4454644"/>
            <a:ext cx="3544269" cy="16400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4" name="Arrow: Right 43">
            <a:extLst>
              <a:ext uri="{FF2B5EF4-FFF2-40B4-BE49-F238E27FC236}">
                <a16:creationId xmlns:a16="http://schemas.microsoft.com/office/drawing/2014/main" id="{821E9E94-9790-460E-9FA4-99F21B1704A4}"/>
              </a:ext>
            </a:extLst>
          </p:cNvPr>
          <p:cNvSpPr/>
          <p:nvPr/>
        </p:nvSpPr>
        <p:spPr>
          <a:xfrm>
            <a:off x="7773482" y="4949349"/>
            <a:ext cx="616450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17397B-443D-4722-99B7-BDF5D6308370}"/>
              </a:ext>
            </a:extLst>
          </p:cNvPr>
          <p:cNvSpPr txBox="1"/>
          <p:nvPr/>
        </p:nvSpPr>
        <p:spPr>
          <a:xfrm>
            <a:off x="3948200" y="3499495"/>
            <a:ext cx="4421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delete item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21F702C-52E5-45D7-8484-B424B9ACAEC5}"/>
              </a:ext>
            </a:extLst>
          </p:cNvPr>
          <p:cNvCxnSpPr>
            <a:cxnSpLocks/>
          </p:cNvCxnSpPr>
          <p:nvPr/>
        </p:nvCxnSpPr>
        <p:spPr>
          <a:xfrm>
            <a:off x="678589" y="3871259"/>
            <a:ext cx="2478434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6E5DC56-E38F-4380-852C-2117893C8AC0}"/>
              </a:ext>
            </a:extLst>
          </p:cNvPr>
          <p:cNvCxnSpPr>
            <a:cxnSpLocks/>
          </p:cNvCxnSpPr>
          <p:nvPr/>
        </p:nvCxnSpPr>
        <p:spPr>
          <a:xfrm>
            <a:off x="8726108" y="3871259"/>
            <a:ext cx="2878729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1DAF957-EE88-448A-9852-E745E31A7FFE}"/>
              </a:ext>
            </a:extLst>
          </p:cNvPr>
          <p:cNvCxnSpPr>
            <a:cxnSpLocks/>
          </p:cNvCxnSpPr>
          <p:nvPr/>
        </p:nvCxnSpPr>
        <p:spPr>
          <a:xfrm>
            <a:off x="602863" y="681230"/>
            <a:ext cx="2478434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111A579-8434-4465-98F8-FCD4DBDF32BE}"/>
              </a:ext>
            </a:extLst>
          </p:cNvPr>
          <p:cNvCxnSpPr>
            <a:cxnSpLocks/>
          </p:cNvCxnSpPr>
          <p:nvPr/>
        </p:nvCxnSpPr>
        <p:spPr>
          <a:xfrm>
            <a:off x="8420412" y="681230"/>
            <a:ext cx="2878729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525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/>
      <p:bldP spid="34" grpId="0" animBg="1"/>
      <p:bldP spid="33" grpId="0" animBg="1"/>
      <p:bldP spid="44" grpId="0" animBg="1"/>
      <p:bldP spid="4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7101138B-5CB1-9447-B76A-C3569D786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7101138B-5CB1-9447-B76A-C3569D786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B332C908-8DF8-774B-AAB8-F56DF4093155}"/>
              </a:ext>
            </a:extLst>
          </p:cNvPr>
          <p:cNvSpPr/>
          <p:nvPr/>
        </p:nvSpPr>
        <p:spPr>
          <a:xfrm>
            <a:off x="7188201" y="660611"/>
            <a:ext cx="5003799" cy="5194301"/>
          </a:xfrm>
          <a:custGeom>
            <a:avLst/>
            <a:gdLst>
              <a:gd name="connsiteX0" fmla="*/ 5003799 w 5003799"/>
              <a:gd name="connsiteY0" fmla="*/ 0 h 5194301"/>
              <a:gd name="connsiteX1" fmla="*/ 5003799 w 5003799"/>
              <a:gd name="connsiteY1" fmla="*/ 5194301 h 5194301"/>
              <a:gd name="connsiteX2" fmla="*/ 5003798 w 5003799"/>
              <a:gd name="connsiteY2" fmla="*/ 5194301 h 5194301"/>
              <a:gd name="connsiteX3" fmla="*/ 5003798 w 5003799"/>
              <a:gd name="connsiteY3" fmla="*/ 1948181 h 5194301"/>
              <a:gd name="connsiteX4" fmla="*/ 1757678 w 5003799"/>
              <a:gd name="connsiteY4" fmla="*/ 5194301 h 5194301"/>
              <a:gd name="connsiteX5" fmla="*/ 4817 w 5003799"/>
              <a:gd name="connsiteY5" fmla="*/ 5194301 h 5194301"/>
              <a:gd name="connsiteX6" fmla="*/ 0 w 5003799"/>
              <a:gd name="connsiteY6" fmla="*/ 5003800 h 5194301"/>
              <a:gd name="connsiteX7" fmla="*/ 5003799 w 5003799"/>
              <a:gd name="connsiteY7" fmla="*/ 0 h 519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3799" h="5194301">
                <a:moveTo>
                  <a:pt x="5003799" y="0"/>
                </a:moveTo>
                <a:lnTo>
                  <a:pt x="5003799" y="5194301"/>
                </a:lnTo>
                <a:lnTo>
                  <a:pt x="5003798" y="5194301"/>
                </a:lnTo>
                <a:lnTo>
                  <a:pt x="5003798" y="1948181"/>
                </a:lnTo>
                <a:cubicBezTo>
                  <a:pt x="3211015" y="1948181"/>
                  <a:pt x="1757678" y="3401518"/>
                  <a:pt x="1757678" y="5194301"/>
                </a:cubicBezTo>
                <a:lnTo>
                  <a:pt x="4817" y="5194301"/>
                </a:lnTo>
                <a:lnTo>
                  <a:pt x="0" y="5003800"/>
                </a:lnTo>
                <a:cubicBezTo>
                  <a:pt x="0" y="2240278"/>
                  <a:pt x="2240277" y="0"/>
                  <a:pt x="5003799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15C8EF4-BE7A-2240-97D0-35182C93178A}"/>
              </a:ext>
            </a:extLst>
          </p:cNvPr>
          <p:cNvGrpSpPr/>
          <p:nvPr/>
        </p:nvGrpSpPr>
        <p:grpSpPr>
          <a:xfrm>
            <a:off x="11121799" y="6447648"/>
            <a:ext cx="804758" cy="144689"/>
            <a:chOff x="4455886" y="479425"/>
            <a:chExt cx="804758" cy="14468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1CF4CC-0C63-BC49-985C-046A8F1570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CB38C0B-9E71-CF4B-A1C3-D4A98E2F3C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D5EF914-2AA5-A648-B8FF-9216ACEB6A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7EA73EE-4645-BD4D-BD31-A72B56E9D9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19FAB01-DA59-274C-913E-E6FE1A4476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6DECE3-88A2-DF4E-BF8B-A1589D7B9C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C05C889-F6A6-9747-8D76-00B399714C10}"/>
              </a:ext>
            </a:extLst>
          </p:cNvPr>
          <p:cNvCxnSpPr>
            <a:cxnSpLocks/>
          </p:cNvCxnSpPr>
          <p:nvPr/>
        </p:nvCxnSpPr>
        <p:spPr>
          <a:xfrm flipH="1">
            <a:off x="10634201" y="6527749"/>
            <a:ext cx="308918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002E5BFD-9F52-4A6B-BD04-E54B0AF78E97}"/>
              </a:ext>
            </a:extLst>
          </p:cNvPr>
          <p:cNvSpPr/>
          <p:nvPr/>
        </p:nvSpPr>
        <p:spPr>
          <a:xfrm>
            <a:off x="3381217" y="1878931"/>
            <a:ext cx="626415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BA1B0-CC01-4F87-82B2-5CF33FAEE43E}"/>
              </a:ext>
            </a:extLst>
          </p:cNvPr>
          <p:cNvSpPr txBox="1"/>
          <p:nvPr/>
        </p:nvSpPr>
        <p:spPr>
          <a:xfrm>
            <a:off x="3883937" y="407522"/>
            <a:ext cx="3962143" cy="646331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edit item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CF3A25-9E93-4A4A-8B31-14A931C91FA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t="4236" r="-317" b="34364"/>
          <a:stretch/>
        </p:blipFill>
        <p:spPr>
          <a:xfrm>
            <a:off x="169545" y="1468715"/>
            <a:ext cx="3059010" cy="1612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4DA80D-BF90-40E2-A0F8-7C24FF1FE1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2" r="9902"/>
          <a:stretch/>
        </p:blipFill>
        <p:spPr>
          <a:xfrm>
            <a:off x="4160294" y="1410757"/>
            <a:ext cx="3409430" cy="16268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B188FA9-31D3-4699-81DB-9C405FE724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623" b="577"/>
          <a:stretch/>
        </p:blipFill>
        <p:spPr>
          <a:xfrm>
            <a:off x="8498804" y="1280160"/>
            <a:ext cx="3544269" cy="18014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Arrow: Right 33">
            <a:extLst>
              <a:ext uri="{FF2B5EF4-FFF2-40B4-BE49-F238E27FC236}">
                <a16:creationId xmlns:a16="http://schemas.microsoft.com/office/drawing/2014/main" id="{D880C088-5312-40A9-8271-7A252373277E}"/>
              </a:ext>
            </a:extLst>
          </p:cNvPr>
          <p:cNvSpPr/>
          <p:nvPr/>
        </p:nvSpPr>
        <p:spPr>
          <a:xfrm>
            <a:off x="7773482" y="1892307"/>
            <a:ext cx="616450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FEF44CD9-DB36-4085-BA51-DCE1CD9D3F9F}"/>
              </a:ext>
            </a:extLst>
          </p:cNvPr>
          <p:cNvSpPr/>
          <p:nvPr/>
        </p:nvSpPr>
        <p:spPr>
          <a:xfrm>
            <a:off x="4007632" y="4930661"/>
            <a:ext cx="757517" cy="613194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A8812838-DBA4-4AC2-AE3F-2668984E28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49" b="8249"/>
          <a:stretch/>
        </p:blipFill>
        <p:spPr>
          <a:xfrm>
            <a:off x="285086" y="4458849"/>
            <a:ext cx="3460441" cy="18245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ECAD5BE-8B59-4254-9992-F176E9811C9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6" b="1973"/>
          <a:stretch/>
        </p:blipFill>
        <p:spPr>
          <a:xfrm>
            <a:off x="5119759" y="4269317"/>
            <a:ext cx="3409430" cy="20726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D17397B-443D-4722-99B7-BDF5D6308370}"/>
              </a:ext>
            </a:extLst>
          </p:cNvPr>
          <p:cNvSpPr txBox="1"/>
          <p:nvPr/>
        </p:nvSpPr>
        <p:spPr>
          <a:xfrm>
            <a:off x="3259617" y="3400906"/>
            <a:ext cx="5392802" cy="36933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ow to edit user details, username &amp; password</a:t>
            </a:r>
            <a:endParaRPr lang="en-US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A10A90E-B9C1-486E-AF17-3B25679D7D8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53" t="16427" r="9503" b="18873"/>
          <a:stretch/>
        </p:blipFill>
        <p:spPr>
          <a:xfrm>
            <a:off x="9180667" y="3797509"/>
            <a:ext cx="2680907" cy="14397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51DEE62-6BCC-4917-AC47-5F108B2396F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8" t="21065" r="3804" b="41945"/>
          <a:stretch/>
        </p:blipFill>
        <p:spPr>
          <a:xfrm>
            <a:off x="8791294" y="5323840"/>
            <a:ext cx="3251779" cy="8506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E67778-0FA6-48E8-8ABA-BA59C7B0D256}"/>
              </a:ext>
            </a:extLst>
          </p:cNvPr>
          <p:cNvCxnSpPr>
            <a:cxnSpLocks/>
          </p:cNvCxnSpPr>
          <p:nvPr/>
        </p:nvCxnSpPr>
        <p:spPr>
          <a:xfrm>
            <a:off x="572383" y="3617558"/>
            <a:ext cx="2478434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498FB77-7CD4-47EF-A9A2-F903AA354068}"/>
              </a:ext>
            </a:extLst>
          </p:cNvPr>
          <p:cNvCxnSpPr>
            <a:cxnSpLocks/>
          </p:cNvCxnSpPr>
          <p:nvPr/>
        </p:nvCxnSpPr>
        <p:spPr>
          <a:xfrm>
            <a:off x="8652419" y="3586779"/>
            <a:ext cx="306120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C680285-33E5-4ACA-A847-E4CDE1F9C62D}"/>
              </a:ext>
            </a:extLst>
          </p:cNvPr>
          <p:cNvCxnSpPr>
            <a:cxnSpLocks/>
          </p:cNvCxnSpPr>
          <p:nvPr/>
        </p:nvCxnSpPr>
        <p:spPr>
          <a:xfrm>
            <a:off x="572383" y="671070"/>
            <a:ext cx="2478434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A815A2D-81B7-46F8-B98D-339B6FC98651}"/>
              </a:ext>
            </a:extLst>
          </p:cNvPr>
          <p:cNvCxnSpPr>
            <a:cxnSpLocks/>
          </p:cNvCxnSpPr>
          <p:nvPr/>
        </p:nvCxnSpPr>
        <p:spPr>
          <a:xfrm>
            <a:off x="8389932" y="671070"/>
            <a:ext cx="2878729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3020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0"/>
                            </p:stCondLst>
                            <p:childTnLst>
                              <p:par>
                                <p:cTn id="4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 animBg="1"/>
      <p:bldP spid="34" grpId="0" animBg="1"/>
      <p:bldP spid="33" grpId="0" animBg="1"/>
      <p:bldP spid="4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0F5436C6-62E2-2B4A-8F8D-5BA918D97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0126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C248CE79-C14E-AB4A-B576-2875631AA9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3" b="763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7" name="Freeform 116">
            <a:extLst>
              <a:ext uri="{FF2B5EF4-FFF2-40B4-BE49-F238E27FC236}">
                <a16:creationId xmlns:a16="http://schemas.microsoft.com/office/drawing/2014/main" id="{2925369B-0BBF-914B-836F-62B20A99D67E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116025 h 6858000"/>
              <a:gd name="connsiteX3" fmla="*/ 12155345 w 12192000"/>
              <a:gd name="connsiteY3" fmla="*/ 5082711 h 6858000"/>
              <a:gd name="connsiteX4" fmla="*/ 11362704 w 12192000"/>
              <a:gd name="connsiteY4" fmla="*/ 4798160 h 6858000"/>
              <a:gd name="connsiteX5" fmla="*/ 10116595 w 12192000"/>
              <a:gd name="connsiteY5" fmla="*/ 6044269 h 6858000"/>
              <a:gd name="connsiteX6" fmla="*/ 10401146 w 12192000"/>
              <a:gd name="connsiteY6" fmla="*/ 6836910 h 6858000"/>
              <a:gd name="connsiteX7" fmla="*/ 1042031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116025"/>
                </a:lnTo>
                <a:lnTo>
                  <a:pt x="12155345" y="5082711"/>
                </a:lnTo>
                <a:cubicBezTo>
                  <a:pt x="11939944" y="4904946"/>
                  <a:pt x="11663795" y="4798160"/>
                  <a:pt x="11362704" y="4798160"/>
                </a:cubicBezTo>
                <a:cubicBezTo>
                  <a:pt x="10674497" y="4798160"/>
                  <a:pt x="10116595" y="5356062"/>
                  <a:pt x="10116595" y="6044269"/>
                </a:cubicBezTo>
                <a:cubicBezTo>
                  <a:pt x="10116595" y="6345360"/>
                  <a:pt x="10223381" y="6621509"/>
                  <a:pt x="10401146" y="6836910"/>
                </a:cubicBezTo>
                <a:lnTo>
                  <a:pt x="10420314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90000"/>
                </a:schemeClr>
              </a:gs>
              <a:gs pos="100000">
                <a:schemeClr val="tx1">
                  <a:alpha val="95000"/>
                </a:schemeClr>
              </a:gs>
              <a:gs pos="48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5" name="Freeform 124">
            <a:extLst>
              <a:ext uri="{FF2B5EF4-FFF2-40B4-BE49-F238E27FC236}">
                <a16:creationId xmlns:a16="http://schemas.microsoft.com/office/drawing/2014/main" id="{45442277-0F72-2942-9865-C7CCB1B34DB0}"/>
              </a:ext>
            </a:extLst>
          </p:cNvPr>
          <p:cNvSpPr/>
          <p:nvPr/>
        </p:nvSpPr>
        <p:spPr>
          <a:xfrm flipH="1">
            <a:off x="10116595" y="4798160"/>
            <a:ext cx="2075404" cy="2059840"/>
          </a:xfrm>
          <a:custGeom>
            <a:avLst/>
            <a:gdLst>
              <a:gd name="connsiteX0" fmla="*/ 829295 w 2075404"/>
              <a:gd name="connsiteY0" fmla="*/ 0 h 2059840"/>
              <a:gd name="connsiteX1" fmla="*/ 36654 w 2075404"/>
              <a:gd name="connsiteY1" fmla="*/ 284551 h 2059840"/>
              <a:gd name="connsiteX2" fmla="*/ 0 w 2075404"/>
              <a:gd name="connsiteY2" fmla="*/ 317864 h 2059840"/>
              <a:gd name="connsiteX3" fmla="*/ 0 w 2075404"/>
              <a:gd name="connsiteY3" fmla="*/ 2059840 h 2059840"/>
              <a:gd name="connsiteX4" fmla="*/ 1771685 w 2075404"/>
              <a:gd name="connsiteY4" fmla="*/ 2059840 h 2059840"/>
              <a:gd name="connsiteX5" fmla="*/ 1790853 w 2075404"/>
              <a:gd name="connsiteY5" fmla="*/ 2038750 h 2059840"/>
              <a:gd name="connsiteX6" fmla="*/ 2075404 w 2075404"/>
              <a:gd name="connsiteY6" fmla="*/ 1246109 h 2059840"/>
              <a:gd name="connsiteX7" fmla="*/ 829295 w 2075404"/>
              <a:gd name="connsiteY7" fmla="*/ 0 h 2059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75404" h="2059840">
                <a:moveTo>
                  <a:pt x="829295" y="0"/>
                </a:moveTo>
                <a:cubicBezTo>
                  <a:pt x="528204" y="0"/>
                  <a:pt x="252055" y="106786"/>
                  <a:pt x="36654" y="284551"/>
                </a:cubicBezTo>
                <a:lnTo>
                  <a:pt x="0" y="317864"/>
                </a:lnTo>
                <a:lnTo>
                  <a:pt x="0" y="2059840"/>
                </a:lnTo>
                <a:lnTo>
                  <a:pt x="1771685" y="2059840"/>
                </a:lnTo>
                <a:lnTo>
                  <a:pt x="1790853" y="2038750"/>
                </a:lnTo>
                <a:cubicBezTo>
                  <a:pt x="1968618" y="1823349"/>
                  <a:pt x="2075404" y="1547200"/>
                  <a:pt x="2075404" y="1246109"/>
                </a:cubicBezTo>
                <a:cubicBezTo>
                  <a:pt x="2075404" y="557902"/>
                  <a:pt x="1517502" y="0"/>
                  <a:pt x="829295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67D2D5C0-68B6-6040-9B8A-FB188CDBF3F1}"/>
              </a:ext>
            </a:extLst>
          </p:cNvPr>
          <p:cNvSpPr/>
          <p:nvPr/>
        </p:nvSpPr>
        <p:spPr>
          <a:xfrm flipH="1">
            <a:off x="10879772" y="5561337"/>
            <a:ext cx="965864" cy="965864"/>
          </a:xfrm>
          <a:prstGeom prst="ellipse">
            <a:avLst/>
          </a:prstGeom>
          <a:pattFill prst="dkUpDiag">
            <a:fgClr>
              <a:schemeClr val="accent6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D129E2FC-CA83-8B43-9AED-F29DAA0A2B26}"/>
              </a:ext>
            </a:extLst>
          </p:cNvPr>
          <p:cNvSpPr/>
          <p:nvPr/>
        </p:nvSpPr>
        <p:spPr>
          <a:xfrm flipV="1">
            <a:off x="10259352" y="4957602"/>
            <a:ext cx="422118" cy="42211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reeform 125">
            <a:extLst>
              <a:ext uri="{FF2B5EF4-FFF2-40B4-BE49-F238E27FC236}">
                <a16:creationId xmlns:a16="http://schemas.microsoft.com/office/drawing/2014/main" id="{0A8D5655-D565-3D41-9023-7A49179ECD58}"/>
              </a:ext>
            </a:extLst>
          </p:cNvPr>
          <p:cNvSpPr/>
          <p:nvPr/>
        </p:nvSpPr>
        <p:spPr>
          <a:xfrm flipH="1">
            <a:off x="9316695" y="3998260"/>
            <a:ext cx="2875305" cy="2859741"/>
          </a:xfrm>
          <a:custGeom>
            <a:avLst/>
            <a:gdLst>
              <a:gd name="connsiteX0" fmla="*/ 829295 w 2875305"/>
              <a:gd name="connsiteY0" fmla="*/ 0 h 2859741"/>
              <a:gd name="connsiteX1" fmla="*/ 32896 w 2875305"/>
              <a:gd name="connsiteY1" fmla="*/ 160786 h 2859741"/>
              <a:gd name="connsiteX2" fmla="*/ 0 w 2875305"/>
              <a:gd name="connsiteY2" fmla="*/ 176632 h 2859741"/>
              <a:gd name="connsiteX3" fmla="*/ 0 w 2875305"/>
              <a:gd name="connsiteY3" fmla="*/ 2859741 h 2859741"/>
              <a:gd name="connsiteX4" fmla="*/ 2706170 w 2875305"/>
              <a:gd name="connsiteY4" fmla="*/ 2859741 h 2859741"/>
              <a:gd name="connsiteX5" fmla="*/ 2714519 w 2875305"/>
              <a:gd name="connsiteY5" fmla="*/ 2842410 h 2859741"/>
              <a:gd name="connsiteX6" fmla="*/ 2875305 w 2875305"/>
              <a:gd name="connsiteY6" fmla="*/ 2046010 h 2859741"/>
              <a:gd name="connsiteX7" fmla="*/ 829295 w 2875305"/>
              <a:gd name="connsiteY7" fmla="*/ 0 h 2859741"/>
              <a:gd name="connsiteX0" fmla="*/ 0 w 2875305"/>
              <a:gd name="connsiteY0" fmla="*/ 2859741 h 2951181"/>
              <a:gd name="connsiteX1" fmla="*/ 2706170 w 2875305"/>
              <a:gd name="connsiteY1" fmla="*/ 2859741 h 2951181"/>
              <a:gd name="connsiteX2" fmla="*/ 2714519 w 2875305"/>
              <a:gd name="connsiteY2" fmla="*/ 2842410 h 2951181"/>
              <a:gd name="connsiteX3" fmla="*/ 2875305 w 2875305"/>
              <a:gd name="connsiteY3" fmla="*/ 2046010 h 2951181"/>
              <a:gd name="connsiteX4" fmla="*/ 829295 w 2875305"/>
              <a:gd name="connsiteY4" fmla="*/ 0 h 2951181"/>
              <a:gd name="connsiteX5" fmla="*/ 32896 w 2875305"/>
              <a:gd name="connsiteY5" fmla="*/ 160786 h 2951181"/>
              <a:gd name="connsiteX6" fmla="*/ 0 w 2875305"/>
              <a:gd name="connsiteY6" fmla="*/ 176632 h 2951181"/>
              <a:gd name="connsiteX7" fmla="*/ 91440 w 2875305"/>
              <a:gd name="connsiteY7" fmla="*/ 2951181 h 2951181"/>
              <a:gd name="connsiteX0" fmla="*/ 0 w 2875305"/>
              <a:gd name="connsiteY0" fmla="*/ 2859741 h 2859741"/>
              <a:gd name="connsiteX1" fmla="*/ 2706170 w 2875305"/>
              <a:gd name="connsiteY1" fmla="*/ 2859741 h 2859741"/>
              <a:gd name="connsiteX2" fmla="*/ 2714519 w 2875305"/>
              <a:gd name="connsiteY2" fmla="*/ 2842410 h 2859741"/>
              <a:gd name="connsiteX3" fmla="*/ 2875305 w 2875305"/>
              <a:gd name="connsiteY3" fmla="*/ 2046010 h 2859741"/>
              <a:gd name="connsiteX4" fmla="*/ 829295 w 2875305"/>
              <a:gd name="connsiteY4" fmla="*/ 0 h 2859741"/>
              <a:gd name="connsiteX5" fmla="*/ 32896 w 2875305"/>
              <a:gd name="connsiteY5" fmla="*/ 160786 h 2859741"/>
              <a:gd name="connsiteX6" fmla="*/ 0 w 2875305"/>
              <a:gd name="connsiteY6" fmla="*/ 176632 h 2859741"/>
              <a:gd name="connsiteX0" fmla="*/ 2706170 w 2875305"/>
              <a:gd name="connsiteY0" fmla="*/ 2859741 h 2859741"/>
              <a:gd name="connsiteX1" fmla="*/ 2714519 w 2875305"/>
              <a:gd name="connsiteY1" fmla="*/ 2842410 h 2859741"/>
              <a:gd name="connsiteX2" fmla="*/ 2875305 w 2875305"/>
              <a:gd name="connsiteY2" fmla="*/ 2046010 h 2859741"/>
              <a:gd name="connsiteX3" fmla="*/ 829295 w 2875305"/>
              <a:gd name="connsiteY3" fmla="*/ 0 h 2859741"/>
              <a:gd name="connsiteX4" fmla="*/ 32896 w 2875305"/>
              <a:gd name="connsiteY4" fmla="*/ 160786 h 2859741"/>
              <a:gd name="connsiteX5" fmla="*/ 0 w 2875305"/>
              <a:gd name="connsiteY5" fmla="*/ 176632 h 2859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5305" h="2859741">
                <a:moveTo>
                  <a:pt x="2706170" y="2859741"/>
                </a:moveTo>
                <a:lnTo>
                  <a:pt x="2714519" y="2842410"/>
                </a:lnTo>
                <a:cubicBezTo>
                  <a:pt x="2818053" y="2597628"/>
                  <a:pt x="2875305" y="2328505"/>
                  <a:pt x="2875305" y="2046010"/>
                </a:cubicBezTo>
                <a:cubicBezTo>
                  <a:pt x="2875305" y="916030"/>
                  <a:pt x="1959275" y="0"/>
                  <a:pt x="829295" y="0"/>
                </a:cubicBezTo>
                <a:cubicBezTo>
                  <a:pt x="546800" y="0"/>
                  <a:pt x="277677" y="57252"/>
                  <a:pt x="32896" y="160786"/>
                </a:cubicBezTo>
                <a:lnTo>
                  <a:pt x="0" y="176632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371AB89A-BBD2-D048-A0DC-8B24D912A264}"/>
              </a:ext>
            </a:extLst>
          </p:cNvPr>
          <p:cNvGrpSpPr/>
          <p:nvPr/>
        </p:nvGrpSpPr>
        <p:grpSpPr>
          <a:xfrm>
            <a:off x="533400" y="6176056"/>
            <a:ext cx="804758" cy="144689"/>
            <a:chOff x="4455886" y="479425"/>
            <a:chExt cx="804758" cy="144689"/>
          </a:xfrm>
        </p:grpSpPr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36A5567F-B1F4-4E4B-A3F6-5FE14F6552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F131D155-FD30-A54C-90D8-7BD7BE3A06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ACE3126-1422-1745-BBB0-76209E0E442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A6A2B208-1B76-2744-BACC-12386F9662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8E97F3C5-DF2A-4D46-B0A8-9E951D5280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42FFC46F-1930-2649-9BAB-7FD77F36A1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B1FFFDB5-BCE0-5445-804F-10C5612D20B8}"/>
              </a:ext>
            </a:extLst>
          </p:cNvPr>
          <p:cNvCxnSpPr>
            <a:cxnSpLocks/>
          </p:cNvCxnSpPr>
          <p:nvPr/>
        </p:nvCxnSpPr>
        <p:spPr>
          <a:xfrm flipH="1">
            <a:off x="1" y="6248400"/>
            <a:ext cx="308918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CAA3E98-8587-7046-80A2-F5F0912C02FB}"/>
              </a:ext>
            </a:extLst>
          </p:cNvPr>
          <p:cNvGrpSpPr/>
          <p:nvPr/>
        </p:nvGrpSpPr>
        <p:grpSpPr>
          <a:xfrm rot="16200000">
            <a:off x="10369639" y="978843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E0796E17-633B-CD40-9252-FB39556BF97B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A6FDA1B8-0821-3949-A1BF-7133897B3731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BA013AB6-DD3D-9041-850A-6BBD732825C4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858D9F5E-D899-4B4C-94AC-EDC4EFF2C66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453CC583-EF4D-C74F-8C99-C47941A924D1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57BCA4A3-C5CA-7A4A-811D-ACE8BE592B7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BB689BCF-0953-254E-8546-43371557FA51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1D33948F-7847-5C41-AF47-D8A3ED6A97A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12868000-4181-3F40-AD40-8767C859C549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84AA02DD-4D3B-684B-AD8A-F4E61E9E21C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3F445F1C-51FF-704E-A634-F5C91EBEA7E2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BB1F0A80-CC1E-CF42-B70C-AF19597025F6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B93514E1-CC1C-C44E-A482-C2B72159CC03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F8D9340F-CCD8-B64A-AB4F-5B99C92118CD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5BC2A360-0F80-3F4F-BE72-4A8324B5B350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8A6A7E71-6C47-A44B-B856-E3A529CDFD2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27EE0B55-72C7-DE4E-A9DC-93EE752FBAB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4F4E5095-07F5-CC4E-8FC4-72747BD2B46A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EA503072-CEB8-274B-8532-9129574AC178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A95021C5-B28F-6245-BF39-5D14A4E9936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AC1DD574-9A4E-4648-87A7-A3A9376F675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23DDC1C-ED9E-EF40-B8F0-1C14503BEEFD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4971295C-6026-E843-9D9D-A34F28EE344A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1D4B35CD-303E-5F41-8107-C04E836563EB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78F6F04E-C214-3C40-8858-B5FFADA90D7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68C9D4CB-25D6-B741-BB4D-6C8A15160E2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2070ED02-D30B-BA45-8490-8A251370E223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69F6B071-5D22-3C4C-8D6B-177B2682201C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61238F9B-5DC2-F54E-828D-3F1C62FC4340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13FFDD11-424E-5942-B8D0-29EAB882474A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A93CA636-D4E0-2A42-89B9-2078204CB09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86724194-E826-CB46-8D5B-34CD0BDECC1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BD69B53-19C6-C745-A764-E1A4527A7D16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C1B1FF87-1776-CC49-AE5A-70C5F0C8247C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52895DEC-3BFE-D149-8D78-BEE7197BE285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B323F1A2-F6A4-524A-A16A-6D597C58A14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A9230942-78B2-6146-9604-96F7038F74E3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FD4C1DB-9EA3-534D-A9B6-5174C1F959C4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70190643-E811-5D4A-8C49-05F2DFB231BA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3E653044-7A86-9C49-9248-3BA4DAC5435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D66719B0-34B7-F04A-88C6-4875631FF403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16854EF1-598E-F842-8CBF-0DB40C7101C2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70C227F3-1124-0F44-B650-5EA6BBCD9112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0380B99D-97E5-2443-BD81-4E8B1F9677D1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05CB6FEF-BAD1-4433-8C0F-839EDC522DF2}"/>
              </a:ext>
            </a:extLst>
          </p:cNvPr>
          <p:cNvSpPr/>
          <p:nvPr/>
        </p:nvSpPr>
        <p:spPr>
          <a:xfrm>
            <a:off x="416560" y="562835"/>
            <a:ext cx="2804160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5BD2370-11B9-4868-AD0C-D261F61FDFA9}"/>
              </a:ext>
            </a:extLst>
          </p:cNvPr>
          <p:cNvSpPr txBox="1"/>
          <p:nvPr/>
        </p:nvSpPr>
        <p:spPr>
          <a:xfrm>
            <a:off x="578684" y="534982"/>
            <a:ext cx="2570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clusion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D54B0D-883F-4D19-B875-31ECE13B41AD}"/>
              </a:ext>
            </a:extLst>
          </p:cNvPr>
          <p:cNvSpPr/>
          <p:nvPr/>
        </p:nvSpPr>
        <p:spPr>
          <a:xfrm>
            <a:off x="70537" y="1314319"/>
            <a:ext cx="12275155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All in all, online shopping is revolutionary medium for purchasing goods from hom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725641-5799-487B-AF2B-D5114FB93F5C}"/>
              </a:ext>
            </a:extLst>
          </p:cNvPr>
          <p:cNvSpPr/>
          <p:nvPr/>
        </p:nvSpPr>
        <p:spPr>
          <a:xfrm>
            <a:off x="70537" y="1829867"/>
            <a:ext cx="10405862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By which people will be able to alleviate their time and their sufferings.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0193548-DF85-4BD4-AFAE-73F08203EE85}"/>
              </a:ext>
            </a:extLst>
          </p:cNvPr>
          <p:cNvSpPr/>
          <p:nvPr/>
        </p:nvSpPr>
        <p:spPr>
          <a:xfrm>
            <a:off x="70537" y="2327439"/>
            <a:ext cx="11198258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. Thus this shops has many options that is not available in the physical market.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08B2E5-FD5F-4B52-8495-AEC465CF0CD8}"/>
              </a:ext>
            </a:extLst>
          </p:cNvPr>
          <p:cNvSpPr/>
          <p:nvPr/>
        </p:nvSpPr>
        <p:spPr>
          <a:xfrm>
            <a:off x="16676" y="3714093"/>
            <a:ext cx="11252119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6. Both buyers and sellers can use this program without any technical problems.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94C2B90-5996-4BC7-AEEE-9EB12389F218}"/>
              </a:ext>
            </a:extLst>
          </p:cNvPr>
          <p:cNvSpPr/>
          <p:nvPr/>
        </p:nvSpPr>
        <p:spPr>
          <a:xfrm>
            <a:off x="54404" y="3237868"/>
            <a:ext cx="9386737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5. them. Here we added user friendly user panel and admin panel.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C993E52-4A74-44B5-A2EF-2C5A55C3BD17}"/>
              </a:ext>
            </a:extLst>
          </p:cNvPr>
          <p:cNvSpPr/>
          <p:nvPr/>
        </p:nvSpPr>
        <p:spPr>
          <a:xfrm>
            <a:off x="54404" y="2759877"/>
            <a:ext cx="7034618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4. Example: Our online multi shop is one of them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845A496-62F9-4F31-877B-797D88D93CC3}"/>
              </a:ext>
            </a:extLst>
          </p:cNvPr>
          <p:cNvSpPr/>
          <p:nvPr/>
        </p:nvSpPr>
        <p:spPr>
          <a:xfrm>
            <a:off x="54404" y="4244224"/>
            <a:ext cx="10842520" cy="44627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7. On the other hand we added the top most security system in our program.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D129222-1E22-4AF0-A6D4-23522799F5D5}"/>
              </a:ext>
            </a:extLst>
          </p:cNvPr>
          <p:cNvSpPr/>
          <p:nvPr/>
        </p:nvSpPr>
        <p:spPr>
          <a:xfrm>
            <a:off x="0" y="4717764"/>
            <a:ext cx="11851128" cy="80021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8. So, it can be said that online shop is an important &amp; secure medium to sell goods </a:t>
            </a:r>
          </a:p>
          <a:p>
            <a:pPr algn="ctr"/>
            <a:r>
              <a:rPr lang="en-US" sz="23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rom home.</a:t>
            </a:r>
          </a:p>
        </p:txBody>
      </p:sp>
    </p:spTree>
    <p:extLst>
      <p:ext uri="{BB962C8B-B14F-4D97-AF65-F5344CB8AC3E}">
        <p14:creationId xmlns:p14="http://schemas.microsoft.com/office/powerpoint/2010/main" val="2095942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D9C0AC-43D8-3D4F-B595-314E4A24DB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5" name="Freeform 54">
            <a:extLst>
              <a:ext uri="{FF2B5EF4-FFF2-40B4-BE49-F238E27FC236}">
                <a16:creationId xmlns:a16="http://schemas.microsoft.com/office/drawing/2014/main" id="{1E23D028-FA4D-8641-98AB-6F0A718A6B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2171833 w 12192000"/>
              <a:gd name="connsiteY3" fmla="*/ 6858000 h 6858000"/>
              <a:gd name="connsiteX4" fmla="*/ 2216969 w 12192000"/>
              <a:gd name="connsiteY4" fmla="*/ 6682461 h 6858000"/>
              <a:gd name="connsiteX5" fmla="*/ 2255874 w 12192000"/>
              <a:gd name="connsiteY5" fmla="*/ 6296526 h 6858000"/>
              <a:gd name="connsiteX6" fmla="*/ 2169780 w 12192000"/>
              <a:gd name="connsiteY6" fmla="*/ 5727070 h 6858000"/>
              <a:gd name="connsiteX7" fmla="*/ 2162451 w 12192000"/>
              <a:gd name="connsiteY7" fmla="*/ 5707044 h 6858000"/>
              <a:gd name="connsiteX8" fmla="*/ 2117817 w 12192000"/>
              <a:gd name="connsiteY8" fmla="*/ 5720899 h 6858000"/>
              <a:gd name="connsiteX9" fmla="*/ 1981469 w 12192000"/>
              <a:gd name="connsiteY9" fmla="*/ 5734644 h 6858000"/>
              <a:gd name="connsiteX10" fmla="*/ 1304921 w 12192000"/>
              <a:gd name="connsiteY10" fmla="*/ 5058096 h 6858000"/>
              <a:gd name="connsiteX11" fmla="*/ 1358088 w 12192000"/>
              <a:gd name="connsiteY11" fmla="*/ 4794753 h 6858000"/>
              <a:gd name="connsiteX12" fmla="*/ 1406520 w 12192000"/>
              <a:gd name="connsiteY12" fmla="*/ 4705522 h 6858000"/>
              <a:gd name="connsiteX13" fmla="*/ 1253688 w 12192000"/>
              <a:gd name="connsiteY13" fmla="*/ 4612675 h 6858000"/>
              <a:gd name="connsiteX14" fmla="*/ 340895 w 12192000"/>
              <a:gd name="connsiteY14" fmla="*/ 4381547 h 6858000"/>
              <a:gd name="connsiteX15" fmla="*/ 145100 w 12192000"/>
              <a:gd name="connsiteY15" fmla="*/ 4391434 h 6858000"/>
              <a:gd name="connsiteX16" fmla="*/ 0 w 12192000"/>
              <a:gd name="connsiteY16" fmla="*/ 44135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2171833" y="6858000"/>
                </a:lnTo>
                <a:lnTo>
                  <a:pt x="2216969" y="6682461"/>
                </a:lnTo>
                <a:cubicBezTo>
                  <a:pt x="2242478" y="6557801"/>
                  <a:pt x="2255874" y="6428728"/>
                  <a:pt x="2255874" y="6296526"/>
                </a:cubicBezTo>
                <a:cubicBezTo>
                  <a:pt x="2255874" y="6098223"/>
                  <a:pt x="2225732" y="5906961"/>
                  <a:pt x="2169780" y="5727070"/>
                </a:cubicBezTo>
                <a:lnTo>
                  <a:pt x="2162451" y="5707044"/>
                </a:lnTo>
                <a:lnTo>
                  <a:pt x="2117817" y="5720899"/>
                </a:lnTo>
                <a:cubicBezTo>
                  <a:pt x="2073775" y="5729911"/>
                  <a:pt x="2028175" y="5734644"/>
                  <a:pt x="1981469" y="5734644"/>
                </a:cubicBezTo>
                <a:cubicBezTo>
                  <a:pt x="1607822" y="5734644"/>
                  <a:pt x="1304921" y="5431743"/>
                  <a:pt x="1304921" y="5058096"/>
                </a:cubicBezTo>
                <a:cubicBezTo>
                  <a:pt x="1304921" y="4964684"/>
                  <a:pt x="1323852" y="4875694"/>
                  <a:pt x="1358088" y="4794753"/>
                </a:cubicBezTo>
                <a:lnTo>
                  <a:pt x="1406520" y="4705522"/>
                </a:lnTo>
                <a:lnTo>
                  <a:pt x="1253688" y="4612675"/>
                </a:lnTo>
                <a:cubicBezTo>
                  <a:pt x="982348" y="4465274"/>
                  <a:pt x="671399" y="4381547"/>
                  <a:pt x="340895" y="4381547"/>
                </a:cubicBezTo>
                <a:cubicBezTo>
                  <a:pt x="274794" y="4381547"/>
                  <a:pt x="209476" y="4384896"/>
                  <a:pt x="145100" y="4391434"/>
                </a:cubicBezTo>
                <a:lnTo>
                  <a:pt x="0" y="441357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90000"/>
                </a:schemeClr>
              </a:gs>
              <a:gs pos="100000">
                <a:schemeClr val="tx1">
                  <a:alpha val="95000"/>
                </a:schemeClr>
              </a:gs>
              <a:gs pos="48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7" name="Freeform 66">
            <a:extLst>
              <a:ext uri="{FF2B5EF4-FFF2-40B4-BE49-F238E27FC236}">
                <a16:creationId xmlns:a16="http://schemas.microsoft.com/office/drawing/2014/main" id="{3F18E126-03BF-C24A-BA17-C150079FE5EF}"/>
              </a:ext>
            </a:extLst>
          </p:cNvPr>
          <p:cNvSpPr/>
          <p:nvPr/>
        </p:nvSpPr>
        <p:spPr>
          <a:xfrm flipV="1">
            <a:off x="0" y="4381548"/>
            <a:ext cx="2255874" cy="2476453"/>
          </a:xfrm>
          <a:custGeom>
            <a:avLst/>
            <a:gdLst>
              <a:gd name="connsiteX0" fmla="*/ 340895 w 2255874"/>
              <a:gd name="connsiteY0" fmla="*/ 2476453 h 2476453"/>
              <a:gd name="connsiteX1" fmla="*/ 1253688 w 2255874"/>
              <a:gd name="connsiteY1" fmla="*/ 2245325 h 2476453"/>
              <a:gd name="connsiteX2" fmla="*/ 1406520 w 2255874"/>
              <a:gd name="connsiteY2" fmla="*/ 2152478 h 2476453"/>
              <a:gd name="connsiteX3" fmla="*/ 1358088 w 2255874"/>
              <a:gd name="connsiteY3" fmla="*/ 2063247 h 2476453"/>
              <a:gd name="connsiteX4" fmla="*/ 1304921 w 2255874"/>
              <a:gd name="connsiteY4" fmla="*/ 1799904 h 2476453"/>
              <a:gd name="connsiteX5" fmla="*/ 1981469 w 2255874"/>
              <a:gd name="connsiteY5" fmla="*/ 1123356 h 2476453"/>
              <a:gd name="connsiteX6" fmla="*/ 2117817 w 2255874"/>
              <a:gd name="connsiteY6" fmla="*/ 1137101 h 2476453"/>
              <a:gd name="connsiteX7" fmla="*/ 2162451 w 2255874"/>
              <a:gd name="connsiteY7" fmla="*/ 1150956 h 2476453"/>
              <a:gd name="connsiteX8" fmla="*/ 2169780 w 2255874"/>
              <a:gd name="connsiteY8" fmla="*/ 1130930 h 2476453"/>
              <a:gd name="connsiteX9" fmla="*/ 2255874 w 2255874"/>
              <a:gd name="connsiteY9" fmla="*/ 561474 h 2476453"/>
              <a:gd name="connsiteX10" fmla="*/ 2216969 w 2255874"/>
              <a:gd name="connsiteY10" fmla="*/ 175539 h 2476453"/>
              <a:gd name="connsiteX11" fmla="*/ 2171833 w 2255874"/>
              <a:gd name="connsiteY11" fmla="*/ 0 h 2476453"/>
              <a:gd name="connsiteX12" fmla="*/ 0 w 2255874"/>
              <a:gd name="connsiteY12" fmla="*/ 0 h 2476453"/>
              <a:gd name="connsiteX13" fmla="*/ 0 w 2255874"/>
              <a:gd name="connsiteY13" fmla="*/ 2444422 h 2476453"/>
              <a:gd name="connsiteX14" fmla="*/ 145100 w 2255874"/>
              <a:gd name="connsiteY14" fmla="*/ 2466566 h 2476453"/>
              <a:gd name="connsiteX15" fmla="*/ 340895 w 2255874"/>
              <a:gd name="connsiteY15" fmla="*/ 2476453 h 2476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55874" h="2476453">
                <a:moveTo>
                  <a:pt x="340895" y="2476453"/>
                </a:moveTo>
                <a:cubicBezTo>
                  <a:pt x="671399" y="2476453"/>
                  <a:pt x="982348" y="2392726"/>
                  <a:pt x="1253688" y="2245325"/>
                </a:cubicBezTo>
                <a:lnTo>
                  <a:pt x="1406520" y="2152478"/>
                </a:lnTo>
                <a:lnTo>
                  <a:pt x="1358088" y="2063247"/>
                </a:lnTo>
                <a:cubicBezTo>
                  <a:pt x="1323852" y="1982306"/>
                  <a:pt x="1304921" y="1893316"/>
                  <a:pt x="1304921" y="1799904"/>
                </a:cubicBezTo>
                <a:cubicBezTo>
                  <a:pt x="1304921" y="1426257"/>
                  <a:pt x="1607822" y="1123356"/>
                  <a:pt x="1981469" y="1123356"/>
                </a:cubicBezTo>
                <a:cubicBezTo>
                  <a:pt x="2028175" y="1123356"/>
                  <a:pt x="2073775" y="1128089"/>
                  <a:pt x="2117817" y="1137101"/>
                </a:cubicBezTo>
                <a:lnTo>
                  <a:pt x="2162451" y="1150956"/>
                </a:lnTo>
                <a:lnTo>
                  <a:pt x="2169780" y="1130930"/>
                </a:lnTo>
                <a:cubicBezTo>
                  <a:pt x="2225732" y="951039"/>
                  <a:pt x="2255874" y="759777"/>
                  <a:pt x="2255874" y="561474"/>
                </a:cubicBezTo>
                <a:cubicBezTo>
                  <a:pt x="2255874" y="429272"/>
                  <a:pt x="2242478" y="300200"/>
                  <a:pt x="2216969" y="175539"/>
                </a:cubicBezTo>
                <a:lnTo>
                  <a:pt x="2171833" y="0"/>
                </a:lnTo>
                <a:lnTo>
                  <a:pt x="0" y="0"/>
                </a:lnTo>
                <a:lnTo>
                  <a:pt x="0" y="2444422"/>
                </a:lnTo>
                <a:lnTo>
                  <a:pt x="145100" y="2466566"/>
                </a:lnTo>
                <a:cubicBezTo>
                  <a:pt x="209476" y="2473104"/>
                  <a:pt x="274794" y="2476453"/>
                  <a:pt x="340895" y="2476453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Freeform 68">
            <a:extLst>
              <a:ext uri="{FF2B5EF4-FFF2-40B4-BE49-F238E27FC236}">
                <a16:creationId xmlns:a16="http://schemas.microsoft.com/office/drawing/2014/main" id="{07DBA4CF-C40E-014F-848D-EB6B95092134}"/>
              </a:ext>
            </a:extLst>
          </p:cNvPr>
          <p:cNvSpPr/>
          <p:nvPr/>
        </p:nvSpPr>
        <p:spPr>
          <a:xfrm flipV="1">
            <a:off x="0" y="3979402"/>
            <a:ext cx="2658018" cy="2878598"/>
          </a:xfrm>
          <a:custGeom>
            <a:avLst/>
            <a:gdLst>
              <a:gd name="connsiteX0" fmla="*/ 340894 w 2658018"/>
              <a:gd name="connsiteY0" fmla="*/ 2878598 h 2878598"/>
              <a:gd name="connsiteX1" fmla="*/ 2658018 w 2658018"/>
              <a:gd name="connsiteY1" fmla="*/ 561474 h 2878598"/>
              <a:gd name="connsiteX2" fmla="*/ 2610943 w 2658018"/>
              <a:gd name="connsiteY2" fmla="*/ 94493 h 2878598"/>
              <a:gd name="connsiteX3" fmla="*/ 2586646 w 2658018"/>
              <a:gd name="connsiteY3" fmla="*/ 0 h 2878598"/>
              <a:gd name="connsiteX4" fmla="*/ 0 w 2658018"/>
              <a:gd name="connsiteY4" fmla="*/ 0 h 2878598"/>
              <a:gd name="connsiteX5" fmla="*/ 0 w 2658018"/>
              <a:gd name="connsiteY5" fmla="*/ 2850766 h 2878598"/>
              <a:gd name="connsiteX6" fmla="*/ 103982 w 2658018"/>
              <a:gd name="connsiteY6" fmla="*/ 2866635 h 2878598"/>
              <a:gd name="connsiteX7" fmla="*/ 340894 w 2658018"/>
              <a:gd name="connsiteY7" fmla="*/ 2878598 h 2878598"/>
              <a:gd name="connsiteX0" fmla="*/ 0 w 2658018"/>
              <a:gd name="connsiteY0" fmla="*/ 0 h 2878598"/>
              <a:gd name="connsiteX1" fmla="*/ 0 w 2658018"/>
              <a:gd name="connsiteY1" fmla="*/ 2850766 h 2878598"/>
              <a:gd name="connsiteX2" fmla="*/ 103982 w 2658018"/>
              <a:gd name="connsiteY2" fmla="*/ 2866635 h 2878598"/>
              <a:gd name="connsiteX3" fmla="*/ 340894 w 2658018"/>
              <a:gd name="connsiteY3" fmla="*/ 2878598 h 2878598"/>
              <a:gd name="connsiteX4" fmla="*/ 2658018 w 2658018"/>
              <a:gd name="connsiteY4" fmla="*/ 561474 h 2878598"/>
              <a:gd name="connsiteX5" fmla="*/ 2610943 w 2658018"/>
              <a:gd name="connsiteY5" fmla="*/ 94493 h 2878598"/>
              <a:gd name="connsiteX6" fmla="*/ 2586646 w 2658018"/>
              <a:gd name="connsiteY6" fmla="*/ 0 h 2878598"/>
              <a:gd name="connsiteX7" fmla="*/ 91440 w 2658018"/>
              <a:gd name="connsiteY7" fmla="*/ 91440 h 2878598"/>
              <a:gd name="connsiteX0" fmla="*/ 0 w 2658018"/>
              <a:gd name="connsiteY0" fmla="*/ 0 h 2878598"/>
              <a:gd name="connsiteX1" fmla="*/ 0 w 2658018"/>
              <a:gd name="connsiteY1" fmla="*/ 2850766 h 2878598"/>
              <a:gd name="connsiteX2" fmla="*/ 103982 w 2658018"/>
              <a:gd name="connsiteY2" fmla="*/ 2866635 h 2878598"/>
              <a:gd name="connsiteX3" fmla="*/ 340894 w 2658018"/>
              <a:gd name="connsiteY3" fmla="*/ 2878598 h 2878598"/>
              <a:gd name="connsiteX4" fmla="*/ 2658018 w 2658018"/>
              <a:gd name="connsiteY4" fmla="*/ 561474 h 2878598"/>
              <a:gd name="connsiteX5" fmla="*/ 2610943 w 2658018"/>
              <a:gd name="connsiteY5" fmla="*/ 94493 h 2878598"/>
              <a:gd name="connsiteX6" fmla="*/ 2586646 w 2658018"/>
              <a:gd name="connsiteY6" fmla="*/ 0 h 2878598"/>
              <a:gd name="connsiteX0" fmla="*/ 0 w 2658018"/>
              <a:gd name="connsiteY0" fmla="*/ 2850766 h 2878598"/>
              <a:gd name="connsiteX1" fmla="*/ 103982 w 2658018"/>
              <a:gd name="connsiteY1" fmla="*/ 2866635 h 2878598"/>
              <a:gd name="connsiteX2" fmla="*/ 340894 w 2658018"/>
              <a:gd name="connsiteY2" fmla="*/ 2878598 h 2878598"/>
              <a:gd name="connsiteX3" fmla="*/ 2658018 w 2658018"/>
              <a:gd name="connsiteY3" fmla="*/ 561474 h 2878598"/>
              <a:gd name="connsiteX4" fmla="*/ 2610943 w 2658018"/>
              <a:gd name="connsiteY4" fmla="*/ 94493 h 2878598"/>
              <a:gd name="connsiteX5" fmla="*/ 2586646 w 2658018"/>
              <a:gd name="connsiteY5" fmla="*/ 0 h 2878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58018" h="2878598">
                <a:moveTo>
                  <a:pt x="0" y="2850766"/>
                </a:moveTo>
                <a:lnTo>
                  <a:pt x="103982" y="2866635"/>
                </a:lnTo>
                <a:cubicBezTo>
                  <a:pt x="181877" y="2874546"/>
                  <a:pt x="260912" y="2878598"/>
                  <a:pt x="340894" y="2878598"/>
                </a:cubicBezTo>
                <a:cubicBezTo>
                  <a:pt x="1620606" y="2878598"/>
                  <a:pt x="2658018" y="1841186"/>
                  <a:pt x="2658018" y="561474"/>
                </a:cubicBezTo>
                <a:cubicBezTo>
                  <a:pt x="2658018" y="401510"/>
                  <a:pt x="2641809" y="245332"/>
                  <a:pt x="2610943" y="94493"/>
                </a:cubicBezTo>
                <a:lnTo>
                  <a:pt x="2586646" y="0"/>
                </a:lnTo>
              </a:path>
            </a:pathLst>
          </a:custGeom>
          <a:noFill/>
          <a:ln w="190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F23BA0B-0341-8E43-9E37-1AADB9530E23}"/>
              </a:ext>
            </a:extLst>
          </p:cNvPr>
          <p:cNvSpPr/>
          <p:nvPr/>
        </p:nvSpPr>
        <p:spPr>
          <a:xfrm flipV="1">
            <a:off x="1548254" y="4576753"/>
            <a:ext cx="924183" cy="9241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9EBC26-AF5D-8841-8A52-551B0810667E}"/>
              </a:ext>
            </a:extLst>
          </p:cNvPr>
          <p:cNvGrpSpPr/>
          <p:nvPr/>
        </p:nvGrpSpPr>
        <p:grpSpPr>
          <a:xfrm flipV="1">
            <a:off x="9928946" y="675732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F1701A1-F6C9-CB49-AF5C-E21EB888FF06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E8469A7-664A-384D-9825-88EAE24CD5C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935E480-2E68-6540-817C-11BC32B98657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61BC231-3BF5-BD49-8B65-C441C1FD4F7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5D046DA-4305-6B4A-AE92-EA50D76F022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8333A1B1-F9A9-4941-A8BF-2B26A40079D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D9E935A-2B56-DE49-9DAF-BDE509E6B50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2DCD576F-F622-7440-91FA-675E973CCEB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1FE16D6C-146B-554E-BEE9-1894DCEEE85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52912914-53F1-4041-8C1F-5A325E2E09E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AFC5594C-75D4-9A45-B5B5-89770FA3A32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9214335-43EF-5744-9169-FF007BF39E0A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5C92D862-7155-CE48-BF7B-D302B8158E6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DB88D24-24BE-DC4C-BD8A-F5DE1789C7CD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FFE924A-0EFF-8E4B-940E-432323D47474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7982923-8781-F645-B752-0786FF859F6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2C372513-3546-A94E-8EA5-E7AFD9B87A51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A3F21760-9ADE-3544-92A8-C1FFB9F642F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E6B2FAF4-DD99-6B40-8E81-41960F3E3A64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C42D6D52-F7A7-3D49-8E42-964298F8DB4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08056A99-3BAF-FB4D-9E26-095378786E4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3A3E31F-D958-6543-98FC-8C44B9F8CEA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24F016A-3C13-0148-9216-3C7B18FE7265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888C72D-4B1D-294C-8CD2-E808634F9752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0120F82-D833-3E48-AF22-E84AC7FB49C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39D57AA-41B4-634F-AFBC-A3442EF2033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BB787446-2D57-A543-B024-D633C6A1A7D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52ABA8E-3438-3640-B068-3872398887A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D081F9A3-6700-BE44-8C68-697B7213136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80DBB5E-6432-604A-9549-621C7C33582E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012010-D9E3-7845-AEA5-5DC67BBDF9B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D1AE3D2D-FC37-6248-98AA-3C8B8FBAEB2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CA7E23D0-9C48-5C47-B297-B23043A8BE2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4A08E0C-FEF4-1A4F-A4BE-9F0581841782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AB33FCB-522B-604E-BC1A-2DC9BBAB68BF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FC2A9819-70AB-6445-B7FA-604995958228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C4C87E2-D201-E040-86EC-EC4F8E43BF7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7AFC5-4CA4-C643-89E4-3EB15D4C40F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4BA1FB1-276B-DF44-ACFB-BE79290D4D8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04E5AAC7-BFAF-C847-832A-8B6B6B889B13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6C583D3-E8C4-B749-85DA-295CC1A55F5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5D641D7-C57A-5B4B-AFC4-8BE8F602CD9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0F45391-BA84-BC43-AF42-FE3F5933383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5E127D96-4DF3-2E45-8823-0803403C194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A4A63B5-6E3A-844F-9F3F-3B7B25D27A52}"/>
              </a:ext>
            </a:extLst>
          </p:cNvPr>
          <p:cNvGrpSpPr/>
          <p:nvPr/>
        </p:nvGrpSpPr>
        <p:grpSpPr>
          <a:xfrm>
            <a:off x="3025200" y="6432884"/>
            <a:ext cx="804758" cy="144689"/>
            <a:chOff x="4455886" y="479425"/>
            <a:chExt cx="804758" cy="144689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92275FA-338C-0A4E-BC1D-1EA806F2D4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E5BE1E7-2509-814E-8E95-6A219A8BE0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86C97EC-7C3D-C042-8EA0-F4AF4B6FFE8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7F1A7F5D-9FA2-E14E-8A3F-AE20820C68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6C63E1D4-A6B7-AC4F-9F62-1B9B47C193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94D0BE2-92BD-CE48-87BD-E0C4B93382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A6412BC-3B61-7646-BCBF-9EE85FC0B094}"/>
              </a:ext>
            </a:extLst>
          </p:cNvPr>
          <p:cNvCxnSpPr>
            <a:cxnSpLocks/>
          </p:cNvCxnSpPr>
          <p:nvPr/>
        </p:nvCxnSpPr>
        <p:spPr>
          <a:xfrm>
            <a:off x="4180114" y="6505228"/>
            <a:ext cx="80118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2520B2AF-EF48-4A01-8EAF-2D868580F5E7}"/>
              </a:ext>
            </a:extLst>
          </p:cNvPr>
          <p:cNvSpPr/>
          <p:nvPr/>
        </p:nvSpPr>
        <p:spPr>
          <a:xfrm>
            <a:off x="8678598" y="5600764"/>
            <a:ext cx="3230940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58DABD1-65A0-4E41-9C61-FCE9BEF142B4}"/>
              </a:ext>
            </a:extLst>
          </p:cNvPr>
          <p:cNvSpPr txBox="1"/>
          <p:nvPr/>
        </p:nvSpPr>
        <p:spPr>
          <a:xfrm>
            <a:off x="8857672" y="5575114"/>
            <a:ext cx="28903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Future Work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ED49CE-8574-40F9-B00D-404573E267B9}"/>
              </a:ext>
            </a:extLst>
          </p:cNvPr>
          <p:cNvSpPr txBox="1"/>
          <p:nvPr/>
        </p:nvSpPr>
        <p:spPr>
          <a:xfrm>
            <a:off x="753152" y="675731"/>
            <a:ext cx="907981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 Build a secure and fluent shopping servic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 Reduce difficulties for peopl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 Building a virtual super sho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 Deliver goods in a secure &amp; fast wa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 Make this program more efficient and fast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3200" dirty="0">
                <a:solidFill>
                  <a:schemeClr val="bg1"/>
                </a:solidFill>
                <a:latin typeface="+mj-lt"/>
              </a:rPr>
              <a:t> Add more options than before</a:t>
            </a:r>
          </a:p>
        </p:txBody>
      </p:sp>
    </p:spTree>
    <p:extLst>
      <p:ext uri="{BB962C8B-B14F-4D97-AF65-F5344CB8AC3E}">
        <p14:creationId xmlns:p14="http://schemas.microsoft.com/office/powerpoint/2010/main" val="37335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D9C0AC-43D8-3D4F-B595-314E4A24DB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00" b="6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5" name="Freeform 54">
            <a:extLst>
              <a:ext uri="{FF2B5EF4-FFF2-40B4-BE49-F238E27FC236}">
                <a16:creationId xmlns:a16="http://schemas.microsoft.com/office/drawing/2014/main" id="{1E23D028-FA4D-8641-98AB-6F0A718A6B34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2171833 w 12192000"/>
              <a:gd name="connsiteY3" fmla="*/ 6858000 h 6858000"/>
              <a:gd name="connsiteX4" fmla="*/ 2216969 w 12192000"/>
              <a:gd name="connsiteY4" fmla="*/ 6682461 h 6858000"/>
              <a:gd name="connsiteX5" fmla="*/ 2255874 w 12192000"/>
              <a:gd name="connsiteY5" fmla="*/ 6296526 h 6858000"/>
              <a:gd name="connsiteX6" fmla="*/ 2169780 w 12192000"/>
              <a:gd name="connsiteY6" fmla="*/ 5727070 h 6858000"/>
              <a:gd name="connsiteX7" fmla="*/ 2162451 w 12192000"/>
              <a:gd name="connsiteY7" fmla="*/ 5707044 h 6858000"/>
              <a:gd name="connsiteX8" fmla="*/ 2117817 w 12192000"/>
              <a:gd name="connsiteY8" fmla="*/ 5720899 h 6858000"/>
              <a:gd name="connsiteX9" fmla="*/ 1981469 w 12192000"/>
              <a:gd name="connsiteY9" fmla="*/ 5734644 h 6858000"/>
              <a:gd name="connsiteX10" fmla="*/ 1304921 w 12192000"/>
              <a:gd name="connsiteY10" fmla="*/ 5058096 h 6858000"/>
              <a:gd name="connsiteX11" fmla="*/ 1358088 w 12192000"/>
              <a:gd name="connsiteY11" fmla="*/ 4794753 h 6858000"/>
              <a:gd name="connsiteX12" fmla="*/ 1406520 w 12192000"/>
              <a:gd name="connsiteY12" fmla="*/ 4705522 h 6858000"/>
              <a:gd name="connsiteX13" fmla="*/ 1253688 w 12192000"/>
              <a:gd name="connsiteY13" fmla="*/ 4612675 h 6858000"/>
              <a:gd name="connsiteX14" fmla="*/ 340895 w 12192000"/>
              <a:gd name="connsiteY14" fmla="*/ 4381547 h 6858000"/>
              <a:gd name="connsiteX15" fmla="*/ 145100 w 12192000"/>
              <a:gd name="connsiteY15" fmla="*/ 4391434 h 6858000"/>
              <a:gd name="connsiteX16" fmla="*/ 0 w 12192000"/>
              <a:gd name="connsiteY16" fmla="*/ 44135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2171833" y="6858000"/>
                </a:lnTo>
                <a:lnTo>
                  <a:pt x="2216969" y="6682461"/>
                </a:lnTo>
                <a:cubicBezTo>
                  <a:pt x="2242478" y="6557801"/>
                  <a:pt x="2255874" y="6428728"/>
                  <a:pt x="2255874" y="6296526"/>
                </a:cubicBezTo>
                <a:cubicBezTo>
                  <a:pt x="2255874" y="6098223"/>
                  <a:pt x="2225732" y="5906961"/>
                  <a:pt x="2169780" y="5727070"/>
                </a:cubicBezTo>
                <a:lnTo>
                  <a:pt x="2162451" y="5707044"/>
                </a:lnTo>
                <a:lnTo>
                  <a:pt x="2117817" y="5720899"/>
                </a:lnTo>
                <a:cubicBezTo>
                  <a:pt x="2073775" y="5729911"/>
                  <a:pt x="2028175" y="5734644"/>
                  <a:pt x="1981469" y="5734644"/>
                </a:cubicBezTo>
                <a:cubicBezTo>
                  <a:pt x="1607822" y="5734644"/>
                  <a:pt x="1304921" y="5431743"/>
                  <a:pt x="1304921" y="5058096"/>
                </a:cubicBezTo>
                <a:cubicBezTo>
                  <a:pt x="1304921" y="4964684"/>
                  <a:pt x="1323852" y="4875694"/>
                  <a:pt x="1358088" y="4794753"/>
                </a:cubicBezTo>
                <a:lnTo>
                  <a:pt x="1406520" y="4705522"/>
                </a:lnTo>
                <a:lnTo>
                  <a:pt x="1253688" y="4612675"/>
                </a:lnTo>
                <a:cubicBezTo>
                  <a:pt x="982348" y="4465274"/>
                  <a:pt x="671399" y="4381547"/>
                  <a:pt x="340895" y="4381547"/>
                </a:cubicBezTo>
                <a:cubicBezTo>
                  <a:pt x="274794" y="4381547"/>
                  <a:pt x="209476" y="4384896"/>
                  <a:pt x="145100" y="4391434"/>
                </a:cubicBezTo>
                <a:lnTo>
                  <a:pt x="0" y="441357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90000"/>
                </a:schemeClr>
              </a:gs>
              <a:gs pos="100000">
                <a:schemeClr val="tx1">
                  <a:alpha val="95000"/>
                </a:schemeClr>
              </a:gs>
              <a:gs pos="48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7" name="Freeform 66">
            <a:extLst>
              <a:ext uri="{FF2B5EF4-FFF2-40B4-BE49-F238E27FC236}">
                <a16:creationId xmlns:a16="http://schemas.microsoft.com/office/drawing/2014/main" id="{3F18E126-03BF-C24A-BA17-C150079FE5EF}"/>
              </a:ext>
            </a:extLst>
          </p:cNvPr>
          <p:cNvSpPr/>
          <p:nvPr/>
        </p:nvSpPr>
        <p:spPr>
          <a:xfrm flipV="1">
            <a:off x="0" y="4381548"/>
            <a:ext cx="2255874" cy="2476453"/>
          </a:xfrm>
          <a:custGeom>
            <a:avLst/>
            <a:gdLst>
              <a:gd name="connsiteX0" fmla="*/ 340895 w 2255874"/>
              <a:gd name="connsiteY0" fmla="*/ 2476453 h 2476453"/>
              <a:gd name="connsiteX1" fmla="*/ 1253688 w 2255874"/>
              <a:gd name="connsiteY1" fmla="*/ 2245325 h 2476453"/>
              <a:gd name="connsiteX2" fmla="*/ 1406520 w 2255874"/>
              <a:gd name="connsiteY2" fmla="*/ 2152478 h 2476453"/>
              <a:gd name="connsiteX3" fmla="*/ 1358088 w 2255874"/>
              <a:gd name="connsiteY3" fmla="*/ 2063247 h 2476453"/>
              <a:gd name="connsiteX4" fmla="*/ 1304921 w 2255874"/>
              <a:gd name="connsiteY4" fmla="*/ 1799904 h 2476453"/>
              <a:gd name="connsiteX5" fmla="*/ 1981469 w 2255874"/>
              <a:gd name="connsiteY5" fmla="*/ 1123356 h 2476453"/>
              <a:gd name="connsiteX6" fmla="*/ 2117817 w 2255874"/>
              <a:gd name="connsiteY6" fmla="*/ 1137101 h 2476453"/>
              <a:gd name="connsiteX7" fmla="*/ 2162451 w 2255874"/>
              <a:gd name="connsiteY7" fmla="*/ 1150956 h 2476453"/>
              <a:gd name="connsiteX8" fmla="*/ 2169780 w 2255874"/>
              <a:gd name="connsiteY8" fmla="*/ 1130930 h 2476453"/>
              <a:gd name="connsiteX9" fmla="*/ 2255874 w 2255874"/>
              <a:gd name="connsiteY9" fmla="*/ 561474 h 2476453"/>
              <a:gd name="connsiteX10" fmla="*/ 2216969 w 2255874"/>
              <a:gd name="connsiteY10" fmla="*/ 175539 h 2476453"/>
              <a:gd name="connsiteX11" fmla="*/ 2171833 w 2255874"/>
              <a:gd name="connsiteY11" fmla="*/ 0 h 2476453"/>
              <a:gd name="connsiteX12" fmla="*/ 0 w 2255874"/>
              <a:gd name="connsiteY12" fmla="*/ 0 h 2476453"/>
              <a:gd name="connsiteX13" fmla="*/ 0 w 2255874"/>
              <a:gd name="connsiteY13" fmla="*/ 2444422 h 2476453"/>
              <a:gd name="connsiteX14" fmla="*/ 145100 w 2255874"/>
              <a:gd name="connsiteY14" fmla="*/ 2466566 h 2476453"/>
              <a:gd name="connsiteX15" fmla="*/ 340895 w 2255874"/>
              <a:gd name="connsiteY15" fmla="*/ 2476453 h 2476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55874" h="2476453">
                <a:moveTo>
                  <a:pt x="340895" y="2476453"/>
                </a:moveTo>
                <a:cubicBezTo>
                  <a:pt x="671399" y="2476453"/>
                  <a:pt x="982348" y="2392726"/>
                  <a:pt x="1253688" y="2245325"/>
                </a:cubicBezTo>
                <a:lnTo>
                  <a:pt x="1406520" y="2152478"/>
                </a:lnTo>
                <a:lnTo>
                  <a:pt x="1358088" y="2063247"/>
                </a:lnTo>
                <a:cubicBezTo>
                  <a:pt x="1323852" y="1982306"/>
                  <a:pt x="1304921" y="1893316"/>
                  <a:pt x="1304921" y="1799904"/>
                </a:cubicBezTo>
                <a:cubicBezTo>
                  <a:pt x="1304921" y="1426257"/>
                  <a:pt x="1607822" y="1123356"/>
                  <a:pt x="1981469" y="1123356"/>
                </a:cubicBezTo>
                <a:cubicBezTo>
                  <a:pt x="2028175" y="1123356"/>
                  <a:pt x="2073775" y="1128089"/>
                  <a:pt x="2117817" y="1137101"/>
                </a:cubicBezTo>
                <a:lnTo>
                  <a:pt x="2162451" y="1150956"/>
                </a:lnTo>
                <a:lnTo>
                  <a:pt x="2169780" y="1130930"/>
                </a:lnTo>
                <a:cubicBezTo>
                  <a:pt x="2225732" y="951039"/>
                  <a:pt x="2255874" y="759777"/>
                  <a:pt x="2255874" y="561474"/>
                </a:cubicBezTo>
                <a:cubicBezTo>
                  <a:pt x="2255874" y="429272"/>
                  <a:pt x="2242478" y="300200"/>
                  <a:pt x="2216969" y="175539"/>
                </a:cubicBezTo>
                <a:lnTo>
                  <a:pt x="2171833" y="0"/>
                </a:lnTo>
                <a:lnTo>
                  <a:pt x="0" y="0"/>
                </a:lnTo>
                <a:lnTo>
                  <a:pt x="0" y="2444422"/>
                </a:lnTo>
                <a:lnTo>
                  <a:pt x="145100" y="2466566"/>
                </a:lnTo>
                <a:cubicBezTo>
                  <a:pt x="209476" y="2473104"/>
                  <a:pt x="274794" y="2476453"/>
                  <a:pt x="340895" y="2476453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Freeform 68">
            <a:extLst>
              <a:ext uri="{FF2B5EF4-FFF2-40B4-BE49-F238E27FC236}">
                <a16:creationId xmlns:a16="http://schemas.microsoft.com/office/drawing/2014/main" id="{07DBA4CF-C40E-014F-848D-EB6B95092134}"/>
              </a:ext>
            </a:extLst>
          </p:cNvPr>
          <p:cNvSpPr/>
          <p:nvPr/>
        </p:nvSpPr>
        <p:spPr>
          <a:xfrm flipV="1">
            <a:off x="0" y="3979402"/>
            <a:ext cx="2658018" cy="2878598"/>
          </a:xfrm>
          <a:custGeom>
            <a:avLst/>
            <a:gdLst>
              <a:gd name="connsiteX0" fmla="*/ 340894 w 2658018"/>
              <a:gd name="connsiteY0" fmla="*/ 2878598 h 2878598"/>
              <a:gd name="connsiteX1" fmla="*/ 2658018 w 2658018"/>
              <a:gd name="connsiteY1" fmla="*/ 561474 h 2878598"/>
              <a:gd name="connsiteX2" fmla="*/ 2610943 w 2658018"/>
              <a:gd name="connsiteY2" fmla="*/ 94493 h 2878598"/>
              <a:gd name="connsiteX3" fmla="*/ 2586646 w 2658018"/>
              <a:gd name="connsiteY3" fmla="*/ 0 h 2878598"/>
              <a:gd name="connsiteX4" fmla="*/ 0 w 2658018"/>
              <a:gd name="connsiteY4" fmla="*/ 0 h 2878598"/>
              <a:gd name="connsiteX5" fmla="*/ 0 w 2658018"/>
              <a:gd name="connsiteY5" fmla="*/ 2850766 h 2878598"/>
              <a:gd name="connsiteX6" fmla="*/ 103982 w 2658018"/>
              <a:gd name="connsiteY6" fmla="*/ 2866635 h 2878598"/>
              <a:gd name="connsiteX7" fmla="*/ 340894 w 2658018"/>
              <a:gd name="connsiteY7" fmla="*/ 2878598 h 2878598"/>
              <a:gd name="connsiteX0" fmla="*/ 0 w 2658018"/>
              <a:gd name="connsiteY0" fmla="*/ 0 h 2878598"/>
              <a:gd name="connsiteX1" fmla="*/ 0 w 2658018"/>
              <a:gd name="connsiteY1" fmla="*/ 2850766 h 2878598"/>
              <a:gd name="connsiteX2" fmla="*/ 103982 w 2658018"/>
              <a:gd name="connsiteY2" fmla="*/ 2866635 h 2878598"/>
              <a:gd name="connsiteX3" fmla="*/ 340894 w 2658018"/>
              <a:gd name="connsiteY3" fmla="*/ 2878598 h 2878598"/>
              <a:gd name="connsiteX4" fmla="*/ 2658018 w 2658018"/>
              <a:gd name="connsiteY4" fmla="*/ 561474 h 2878598"/>
              <a:gd name="connsiteX5" fmla="*/ 2610943 w 2658018"/>
              <a:gd name="connsiteY5" fmla="*/ 94493 h 2878598"/>
              <a:gd name="connsiteX6" fmla="*/ 2586646 w 2658018"/>
              <a:gd name="connsiteY6" fmla="*/ 0 h 2878598"/>
              <a:gd name="connsiteX7" fmla="*/ 91440 w 2658018"/>
              <a:gd name="connsiteY7" fmla="*/ 91440 h 2878598"/>
              <a:gd name="connsiteX0" fmla="*/ 0 w 2658018"/>
              <a:gd name="connsiteY0" fmla="*/ 0 h 2878598"/>
              <a:gd name="connsiteX1" fmla="*/ 0 w 2658018"/>
              <a:gd name="connsiteY1" fmla="*/ 2850766 h 2878598"/>
              <a:gd name="connsiteX2" fmla="*/ 103982 w 2658018"/>
              <a:gd name="connsiteY2" fmla="*/ 2866635 h 2878598"/>
              <a:gd name="connsiteX3" fmla="*/ 340894 w 2658018"/>
              <a:gd name="connsiteY3" fmla="*/ 2878598 h 2878598"/>
              <a:gd name="connsiteX4" fmla="*/ 2658018 w 2658018"/>
              <a:gd name="connsiteY4" fmla="*/ 561474 h 2878598"/>
              <a:gd name="connsiteX5" fmla="*/ 2610943 w 2658018"/>
              <a:gd name="connsiteY5" fmla="*/ 94493 h 2878598"/>
              <a:gd name="connsiteX6" fmla="*/ 2586646 w 2658018"/>
              <a:gd name="connsiteY6" fmla="*/ 0 h 2878598"/>
              <a:gd name="connsiteX0" fmla="*/ 0 w 2658018"/>
              <a:gd name="connsiteY0" fmla="*/ 2850766 h 2878598"/>
              <a:gd name="connsiteX1" fmla="*/ 103982 w 2658018"/>
              <a:gd name="connsiteY1" fmla="*/ 2866635 h 2878598"/>
              <a:gd name="connsiteX2" fmla="*/ 340894 w 2658018"/>
              <a:gd name="connsiteY2" fmla="*/ 2878598 h 2878598"/>
              <a:gd name="connsiteX3" fmla="*/ 2658018 w 2658018"/>
              <a:gd name="connsiteY3" fmla="*/ 561474 h 2878598"/>
              <a:gd name="connsiteX4" fmla="*/ 2610943 w 2658018"/>
              <a:gd name="connsiteY4" fmla="*/ 94493 h 2878598"/>
              <a:gd name="connsiteX5" fmla="*/ 2586646 w 2658018"/>
              <a:gd name="connsiteY5" fmla="*/ 0 h 2878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58018" h="2878598">
                <a:moveTo>
                  <a:pt x="0" y="2850766"/>
                </a:moveTo>
                <a:lnTo>
                  <a:pt x="103982" y="2866635"/>
                </a:lnTo>
                <a:cubicBezTo>
                  <a:pt x="181877" y="2874546"/>
                  <a:pt x="260912" y="2878598"/>
                  <a:pt x="340894" y="2878598"/>
                </a:cubicBezTo>
                <a:cubicBezTo>
                  <a:pt x="1620606" y="2878598"/>
                  <a:pt x="2658018" y="1841186"/>
                  <a:pt x="2658018" y="561474"/>
                </a:cubicBezTo>
                <a:cubicBezTo>
                  <a:pt x="2658018" y="401510"/>
                  <a:pt x="2641809" y="245332"/>
                  <a:pt x="2610943" y="94493"/>
                </a:cubicBezTo>
                <a:lnTo>
                  <a:pt x="2586646" y="0"/>
                </a:lnTo>
              </a:path>
            </a:pathLst>
          </a:custGeom>
          <a:noFill/>
          <a:ln w="190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F23BA0B-0341-8E43-9E37-1AADB9530E23}"/>
              </a:ext>
            </a:extLst>
          </p:cNvPr>
          <p:cNvSpPr/>
          <p:nvPr/>
        </p:nvSpPr>
        <p:spPr>
          <a:xfrm flipV="1">
            <a:off x="1548254" y="4576753"/>
            <a:ext cx="924183" cy="9241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9EBC26-AF5D-8841-8A52-551B0810667E}"/>
              </a:ext>
            </a:extLst>
          </p:cNvPr>
          <p:cNvGrpSpPr/>
          <p:nvPr/>
        </p:nvGrpSpPr>
        <p:grpSpPr>
          <a:xfrm flipV="1">
            <a:off x="9928946" y="675732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F1701A1-F6C9-CB49-AF5C-E21EB888FF06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E8469A7-664A-384D-9825-88EAE24CD5C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935E480-2E68-6540-817C-11BC32B98657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61BC231-3BF5-BD49-8B65-C441C1FD4F7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5D046DA-4305-6B4A-AE92-EA50D76F022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8333A1B1-F9A9-4941-A8BF-2B26A40079D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D9E935A-2B56-DE49-9DAF-BDE509E6B50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2DCD576F-F622-7440-91FA-675E973CCEB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1FE16D6C-146B-554E-BEE9-1894DCEEE85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52912914-53F1-4041-8C1F-5A325E2E09E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AFC5594C-75D4-9A45-B5B5-89770FA3A32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9214335-43EF-5744-9169-FF007BF39E0A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5C92D862-7155-CE48-BF7B-D302B8158E6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DB88D24-24BE-DC4C-BD8A-F5DE1789C7CD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FFE924A-0EFF-8E4B-940E-432323D47474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7982923-8781-F645-B752-0786FF859F6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2C372513-3546-A94E-8EA5-E7AFD9B87A51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A3F21760-9ADE-3544-92A8-C1FFB9F642F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E6B2FAF4-DD99-6B40-8E81-41960F3E3A64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C42D6D52-F7A7-3D49-8E42-964298F8DB4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08056A99-3BAF-FB4D-9E26-095378786E4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3A3E31F-D958-6543-98FC-8C44B9F8CEA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24F016A-3C13-0148-9216-3C7B18FE7265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888C72D-4B1D-294C-8CD2-E808634F9752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0120F82-D833-3E48-AF22-E84AC7FB49C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39D57AA-41B4-634F-AFBC-A3442EF2033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BB787446-2D57-A543-B024-D633C6A1A7D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52ABA8E-3438-3640-B068-3872398887A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D081F9A3-6700-BE44-8C68-697B7213136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80DBB5E-6432-604A-9549-621C7C33582E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012010-D9E3-7845-AEA5-5DC67BBDF9B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D1AE3D2D-FC37-6248-98AA-3C8B8FBAEB2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CA7E23D0-9C48-5C47-B297-B23043A8BE2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4A08E0C-FEF4-1A4F-A4BE-9F0581841782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AB33FCB-522B-604E-BC1A-2DC9BBAB68BF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FC2A9819-70AB-6445-B7FA-604995958228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C4C87E2-D201-E040-86EC-EC4F8E43BF7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7AFC5-4CA4-C643-89E4-3EB15D4C40F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24BA1FB1-276B-DF44-ACFB-BE79290D4D8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04E5AAC7-BFAF-C847-832A-8B6B6B889B13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6C583D3-E8C4-B749-85DA-295CC1A55F5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5D641D7-C57A-5B4B-AFC4-8BE8F602CD9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0F45391-BA84-BC43-AF42-FE3F5933383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5E127D96-4DF3-2E45-8823-0803403C194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A4A63B5-6E3A-844F-9F3F-3B7B25D27A52}"/>
              </a:ext>
            </a:extLst>
          </p:cNvPr>
          <p:cNvGrpSpPr/>
          <p:nvPr/>
        </p:nvGrpSpPr>
        <p:grpSpPr>
          <a:xfrm>
            <a:off x="3025200" y="6432884"/>
            <a:ext cx="804758" cy="144689"/>
            <a:chOff x="4455886" y="479425"/>
            <a:chExt cx="804758" cy="144689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92275FA-338C-0A4E-BC1D-1EA806F2D4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E5BE1E7-2509-814E-8E95-6A219A8BE0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86C97EC-7C3D-C042-8EA0-F4AF4B6FFE8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7F1A7F5D-9FA2-E14E-8A3F-AE20820C68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6C63E1D4-A6B7-AC4F-9F62-1B9B47C193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94D0BE2-92BD-CE48-87BD-E0C4B93382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A6412BC-3B61-7646-BCBF-9EE85FC0B094}"/>
              </a:ext>
            </a:extLst>
          </p:cNvPr>
          <p:cNvCxnSpPr>
            <a:cxnSpLocks/>
          </p:cNvCxnSpPr>
          <p:nvPr/>
        </p:nvCxnSpPr>
        <p:spPr>
          <a:xfrm>
            <a:off x="4180114" y="6505228"/>
            <a:ext cx="80118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2520B2AF-EF48-4A01-8EAF-2D868580F5E7}"/>
              </a:ext>
            </a:extLst>
          </p:cNvPr>
          <p:cNvSpPr/>
          <p:nvPr/>
        </p:nvSpPr>
        <p:spPr>
          <a:xfrm>
            <a:off x="4368799" y="532946"/>
            <a:ext cx="2794001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58DABD1-65A0-4E41-9C61-FCE9BEF142B4}"/>
              </a:ext>
            </a:extLst>
          </p:cNvPr>
          <p:cNvSpPr txBox="1"/>
          <p:nvPr/>
        </p:nvSpPr>
        <p:spPr>
          <a:xfrm>
            <a:off x="4517395" y="507296"/>
            <a:ext cx="2523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References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CCB4DA6-64A8-46D8-93DF-75701104F43A}"/>
              </a:ext>
            </a:extLst>
          </p:cNvPr>
          <p:cNvSpPr txBox="1"/>
          <p:nvPr/>
        </p:nvSpPr>
        <p:spPr>
          <a:xfrm>
            <a:off x="3025200" y="1437409"/>
            <a:ext cx="6187779" cy="4567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5"/>
              </a:rPr>
              <a:t>www.google.com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6"/>
              </a:rPr>
              <a:t>www.microsoft.com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7"/>
              </a:rPr>
              <a:t>www.quora.com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8"/>
              </a:rPr>
              <a:t>www.geeksforgeeks.org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9"/>
              </a:rPr>
              <a:t>www.programiz.com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10"/>
              </a:rPr>
              <a:t>www.daraz.com.bd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11"/>
              </a:rPr>
              <a:t>www.evaly.com.bd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/>
                </a:solidFill>
                <a:hlinkClick r:id="rId12"/>
              </a:rPr>
              <a:t>www.ajkerdeal.com.bd</a:t>
            </a:r>
            <a:endParaRPr lang="en-US" sz="3200" dirty="0">
              <a:solidFill>
                <a:schemeClr val="bg1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036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EF434A6-E670-D54E-B330-0A9E550FC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3074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ED0173-8C03-4A41-A9B6-BF71ED26D51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-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297" t="16878" b="14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FCFB19-CD9D-5143-95A1-8EF2AC59A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0000"/>
                </a:schemeClr>
              </a:gs>
              <a:gs pos="100000">
                <a:schemeClr val="tx1">
                  <a:alpha val="95000"/>
                </a:schemeClr>
              </a:gs>
              <a:gs pos="48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66DF05F3-F9A8-1D42-BE75-A986943D68F5}"/>
              </a:ext>
            </a:extLst>
          </p:cNvPr>
          <p:cNvSpPr/>
          <p:nvPr/>
        </p:nvSpPr>
        <p:spPr>
          <a:xfrm>
            <a:off x="6747100" y="0"/>
            <a:ext cx="4911500" cy="6248400"/>
          </a:xfrm>
          <a:custGeom>
            <a:avLst/>
            <a:gdLst>
              <a:gd name="connsiteX0" fmla="*/ 0 w 4911500"/>
              <a:gd name="connsiteY0" fmla="*/ 0 h 6248400"/>
              <a:gd name="connsiteX1" fmla="*/ 4911500 w 4911500"/>
              <a:gd name="connsiteY1" fmla="*/ 0 h 6248400"/>
              <a:gd name="connsiteX2" fmla="*/ 4911500 w 4911500"/>
              <a:gd name="connsiteY2" fmla="*/ 4913859 h 6248400"/>
              <a:gd name="connsiteX3" fmla="*/ 4831038 w 4911500"/>
              <a:gd name="connsiteY3" fmla="*/ 4917922 h 6248400"/>
              <a:gd name="connsiteX4" fmla="*/ 3576727 w 4911500"/>
              <a:gd name="connsiteY4" fmla="*/ 6172233 h 6248400"/>
              <a:gd name="connsiteX5" fmla="*/ 3572881 w 4911500"/>
              <a:gd name="connsiteY5" fmla="*/ 6248400 h 6248400"/>
              <a:gd name="connsiteX6" fmla="*/ 0 w 4911500"/>
              <a:gd name="connsiteY6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11500" h="6248400">
                <a:moveTo>
                  <a:pt x="0" y="0"/>
                </a:moveTo>
                <a:lnTo>
                  <a:pt x="4911500" y="0"/>
                </a:lnTo>
                <a:lnTo>
                  <a:pt x="4911500" y="4913859"/>
                </a:lnTo>
                <a:lnTo>
                  <a:pt x="4831038" y="4917922"/>
                </a:lnTo>
                <a:cubicBezTo>
                  <a:pt x="4169675" y="4985087"/>
                  <a:pt x="3643892" y="5510870"/>
                  <a:pt x="3576727" y="6172233"/>
                </a:cubicBezTo>
                <a:lnTo>
                  <a:pt x="3572881" y="6248400"/>
                </a:lnTo>
                <a:lnTo>
                  <a:pt x="0" y="6248400"/>
                </a:lnTo>
                <a:close/>
              </a:path>
            </a:pathLst>
          </a:custGeom>
          <a:pattFill prst="ltUpDiag">
            <a:fgClr>
              <a:schemeClr val="accent6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4AEEA9F-B57B-4749-8859-8B05CFC6B696}"/>
              </a:ext>
            </a:extLst>
          </p:cNvPr>
          <p:cNvSpPr txBox="1">
            <a:spLocks/>
          </p:cNvSpPr>
          <p:nvPr/>
        </p:nvSpPr>
        <p:spPr>
          <a:xfrm>
            <a:off x="8308566" y="2598004"/>
            <a:ext cx="2233864" cy="16619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5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8C974EDF-9D72-FC42-A9C9-9D2011C8EF65}"/>
              </a:ext>
            </a:extLst>
          </p:cNvPr>
          <p:cNvSpPr/>
          <p:nvPr/>
        </p:nvSpPr>
        <p:spPr>
          <a:xfrm flipH="1">
            <a:off x="10429136" y="5027546"/>
            <a:ext cx="1762864" cy="1830455"/>
          </a:xfrm>
          <a:custGeom>
            <a:avLst/>
            <a:gdLst>
              <a:gd name="connsiteX0" fmla="*/ 516755 w 1762864"/>
              <a:gd name="connsiteY0" fmla="*/ 0 h 1830455"/>
              <a:gd name="connsiteX1" fmla="*/ 88301 w 1762864"/>
              <a:gd name="connsiteY1" fmla="*/ 75614 h 1830455"/>
              <a:gd name="connsiteX2" fmla="*/ 0 w 1762864"/>
              <a:gd name="connsiteY2" fmla="*/ 116808 h 1830455"/>
              <a:gd name="connsiteX3" fmla="*/ 0 w 1762864"/>
              <a:gd name="connsiteY3" fmla="*/ 1830455 h 1830455"/>
              <a:gd name="connsiteX4" fmla="*/ 1616437 w 1762864"/>
              <a:gd name="connsiteY4" fmla="*/ 1830455 h 1830455"/>
              <a:gd name="connsiteX5" fmla="*/ 1646466 w 1762864"/>
              <a:gd name="connsiteY5" fmla="*/ 1772684 h 1830455"/>
              <a:gd name="connsiteX6" fmla="*/ 1762864 w 1762864"/>
              <a:gd name="connsiteY6" fmla="*/ 1246109 h 1830455"/>
              <a:gd name="connsiteX7" fmla="*/ 516755 w 1762864"/>
              <a:gd name="connsiteY7" fmla="*/ 0 h 1830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62864" h="1830455">
                <a:moveTo>
                  <a:pt x="516755" y="0"/>
                </a:moveTo>
                <a:cubicBezTo>
                  <a:pt x="366210" y="0"/>
                  <a:pt x="221899" y="26697"/>
                  <a:pt x="88301" y="75614"/>
                </a:cubicBezTo>
                <a:lnTo>
                  <a:pt x="0" y="116808"/>
                </a:lnTo>
                <a:lnTo>
                  <a:pt x="0" y="1830455"/>
                </a:lnTo>
                <a:lnTo>
                  <a:pt x="1616437" y="1830455"/>
                </a:lnTo>
                <a:lnTo>
                  <a:pt x="1646466" y="1772684"/>
                </a:lnTo>
                <a:cubicBezTo>
                  <a:pt x="1721151" y="1612730"/>
                  <a:pt x="1762864" y="1434291"/>
                  <a:pt x="1762864" y="1246109"/>
                </a:cubicBezTo>
                <a:cubicBezTo>
                  <a:pt x="1762864" y="557902"/>
                  <a:pt x="1204962" y="0"/>
                  <a:pt x="516755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7F64014D-429E-6845-B400-86406B99F80E}"/>
              </a:ext>
            </a:extLst>
          </p:cNvPr>
          <p:cNvSpPr/>
          <p:nvPr/>
        </p:nvSpPr>
        <p:spPr>
          <a:xfrm flipH="1">
            <a:off x="11192313" y="5790722"/>
            <a:ext cx="965864" cy="965864"/>
          </a:xfrm>
          <a:prstGeom prst="ellipse">
            <a:avLst/>
          </a:prstGeom>
          <a:pattFill prst="dkUpDiag">
            <a:fgClr>
              <a:schemeClr val="accent6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7A84876-1F7B-3544-993C-CD38808A5380}"/>
              </a:ext>
            </a:extLst>
          </p:cNvPr>
          <p:cNvGrpSpPr/>
          <p:nvPr/>
        </p:nvGrpSpPr>
        <p:grpSpPr>
          <a:xfrm rot="16200000">
            <a:off x="555156" y="1223055"/>
            <a:ext cx="804758" cy="144689"/>
            <a:chOff x="4455886" y="479425"/>
            <a:chExt cx="804758" cy="144689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5F18B08-42AA-A641-BF89-D18F4E5B46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7D9083AF-5E34-B140-AE54-52CA984940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DB428CD7-E27A-2844-B194-A865E1AF11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DE4D1E7-D1B7-1247-9438-D5E06268809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79F0A12-4B70-BE44-9836-8631446971B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BADED522-DFFE-7A42-9010-C733CC26CD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3ED6BCC-93C2-3A47-8F67-6DC62290E97A}"/>
              </a:ext>
            </a:extLst>
          </p:cNvPr>
          <p:cNvCxnSpPr>
            <a:cxnSpLocks/>
          </p:cNvCxnSpPr>
          <p:nvPr/>
        </p:nvCxnSpPr>
        <p:spPr>
          <a:xfrm>
            <a:off x="957534" y="2598004"/>
            <a:ext cx="0" cy="4259996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6659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7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3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EF3866-0F46-428D-B7FA-0FC3D1FD1D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CA1E79-EDA9-4AC8-ACA5-1DFC75DEFF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/>
              </a:gs>
              <a:gs pos="53000">
                <a:schemeClr val="tx1">
                  <a:alpha val="8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3E94E4B-7B2C-457A-B85C-5DA8C02A76E0}"/>
              </a:ext>
            </a:extLst>
          </p:cNvPr>
          <p:cNvSpPr/>
          <p:nvPr/>
        </p:nvSpPr>
        <p:spPr>
          <a:xfrm>
            <a:off x="9055100" y="3517900"/>
            <a:ext cx="3136900" cy="3340100"/>
          </a:xfrm>
          <a:custGeom>
            <a:avLst/>
            <a:gdLst>
              <a:gd name="connsiteX0" fmla="*/ 3136900 w 3136900"/>
              <a:gd name="connsiteY0" fmla="*/ 2768365 h 3340100"/>
              <a:gd name="connsiteX1" fmla="*/ 3136900 w 3136900"/>
              <a:gd name="connsiteY1" fmla="*/ 3340100 h 3340100"/>
              <a:gd name="connsiteX2" fmla="*/ 2201559 w 3136900"/>
              <a:gd name="connsiteY2" fmla="*/ 3340100 h 3340100"/>
              <a:gd name="connsiteX3" fmla="*/ 2323630 w 3136900"/>
              <a:gd name="connsiteY3" fmla="*/ 3321470 h 3340100"/>
              <a:gd name="connsiteX4" fmla="*/ 3128521 w 3136900"/>
              <a:gd name="connsiteY4" fmla="*/ 2782158 h 3340100"/>
              <a:gd name="connsiteX5" fmla="*/ 2076450 w 3136900"/>
              <a:gd name="connsiteY5" fmla="*/ 0 h 3340100"/>
              <a:gd name="connsiteX6" fmla="*/ 3066210 w 3136900"/>
              <a:gd name="connsiteY6" fmla="*/ 250616 h 3340100"/>
              <a:gd name="connsiteX7" fmla="*/ 3136900 w 3136900"/>
              <a:gd name="connsiteY7" fmla="*/ 293562 h 3340100"/>
              <a:gd name="connsiteX8" fmla="*/ 3136900 w 3136900"/>
              <a:gd name="connsiteY8" fmla="*/ 1362029 h 3340100"/>
              <a:gd name="connsiteX9" fmla="*/ 3128521 w 3136900"/>
              <a:gd name="connsiteY9" fmla="*/ 1348237 h 3340100"/>
              <a:gd name="connsiteX10" fmla="*/ 2065197 w 3136900"/>
              <a:gd name="connsiteY10" fmla="*/ 782872 h 3340100"/>
              <a:gd name="connsiteX11" fmla="*/ 782872 w 3136900"/>
              <a:gd name="connsiteY11" fmla="*/ 2065197 h 3340100"/>
              <a:gd name="connsiteX12" fmla="*/ 1806764 w 3136900"/>
              <a:gd name="connsiteY12" fmla="*/ 3321470 h 3340100"/>
              <a:gd name="connsiteX13" fmla="*/ 1928835 w 3136900"/>
              <a:gd name="connsiteY13" fmla="*/ 3340100 h 3340100"/>
              <a:gd name="connsiteX14" fmla="*/ 431413 w 3136900"/>
              <a:gd name="connsiteY14" fmla="*/ 3340100 h 3340100"/>
              <a:gd name="connsiteX15" fmla="*/ 354625 w 3136900"/>
              <a:gd name="connsiteY15" fmla="*/ 3237413 h 3340100"/>
              <a:gd name="connsiteX16" fmla="*/ 0 w 3136900"/>
              <a:gd name="connsiteY16" fmla="*/ 2076450 h 3340100"/>
              <a:gd name="connsiteX17" fmla="*/ 2076450 w 3136900"/>
              <a:gd name="connsiteY17" fmla="*/ 0 h 334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136900" h="3340100">
                <a:moveTo>
                  <a:pt x="3136900" y="2768365"/>
                </a:moveTo>
                <a:lnTo>
                  <a:pt x="3136900" y="3340100"/>
                </a:lnTo>
                <a:lnTo>
                  <a:pt x="2201559" y="3340100"/>
                </a:lnTo>
                <a:lnTo>
                  <a:pt x="2323630" y="3321470"/>
                </a:lnTo>
                <a:cubicBezTo>
                  <a:pt x="2657536" y="3253143"/>
                  <a:pt x="2944167" y="3055038"/>
                  <a:pt x="3128521" y="2782158"/>
                </a:cubicBezTo>
                <a:close/>
                <a:moveTo>
                  <a:pt x="2076450" y="0"/>
                </a:moveTo>
                <a:cubicBezTo>
                  <a:pt x="2434823" y="0"/>
                  <a:pt x="2771991" y="90787"/>
                  <a:pt x="3066210" y="250616"/>
                </a:cubicBezTo>
                <a:lnTo>
                  <a:pt x="3136900" y="293562"/>
                </a:lnTo>
                <a:lnTo>
                  <a:pt x="3136900" y="1362029"/>
                </a:lnTo>
                <a:lnTo>
                  <a:pt x="3128521" y="1348237"/>
                </a:lnTo>
                <a:cubicBezTo>
                  <a:pt x="2898078" y="1007136"/>
                  <a:pt x="2507828" y="782872"/>
                  <a:pt x="2065197" y="782872"/>
                </a:cubicBezTo>
                <a:cubicBezTo>
                  <a:pt x="1356988" y="782872"/>
                  <a:pt x="782872" y="1356988"/>
                  <a:pt x="782872" y="2065197"/>
                </a:cubicBezTo>
                <a:cubicBezTo>
                  <a:pt x="782872" y="2684880"/>
                  <a:pt x="1222430" y="3201898"/>
                  <a:pt x="1806764" y="3321470"/>
                </a:cubicBezTo>
                <a:lnTo>
                  <a:pt x="1928835" y="3340100"/>
                </a:lnTo>
                <a:lnTo>
                  <a:pt x="431413" y="3340100"/>
                </a:lnTo>
                <a:lnTo>
                  <a:pt x="354625" y="3237413"/>
                </a:lnTo>
                <a:cubicBezTo>
                  <a:pt x="130733" y="2906010"/>
                  <a:pt x="0" y="2506497"/>
                  <a:pt x="0" y="2076450"/>
                </a:cubicBezTo>
                <a:cubicBezTo>
                  <a:pt x="0" y="929658"/>
                  <a:pt x="929658" y="0"/>
                  <a:pt x="2076450" y="0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1061280-2CC9-4868-9419-4DB07D6057D5}"/>
              </a:ext>
            </a:extLst>
          </p:cNvPr>
          <p:cNvSpPr/>
          <p:nvPr/>
        </p:nvSpPr>
        <p:spPr>
          <a:xfrm>
            <a:off x="9572" y="-137212"/>
            <a:ext cx="3243393" cy="3994867"/>
          </a:xfrm>
          <a:custGeom>
            <a:avLst/>
            <a:gdLst>
              <a:gd name="connsiteX0" fmla="*/ 0 w 3095172"/>
              <a:gd name="connsiteY0" fmla="*/ 0 h 3812304"/>
              <a:gd name="connsiteX1" fmla="*/ 3084978 w 3095172"/>
              <a:gd name="connsiteY1" fmla="*/ 0 h 3812304"/>
              <a:gd name="connsiteX2" fmla="*/ 3095172 w 3095172"/>
              <a:gd name="connsiteY2" fmla="*/ 222703 h 3812304"/>
              <a:gd name="connsiteX3" fmla="*/ 2859453 w 3095172"/>
              <a:gd name="connsiteY3" fmla="*/ 1512050 h 3812304"/>
              <a:gd name="connsiteX4" fmla="*/ 2805425 w 3095172"/>
              <a:gd name="connsiteY4" fmla="*/ 1637142 h 3812304"/>
              <a:gd name="connsiteX5" fmla="*/ 2755796 w 3095172"/>
              <a:gd name="connsiteY5" fmla="*/ 1592036 h 3812304"/>
              <a:gd name="connsiteX6" fmla="*/ 1929492 w 3095172"/>
              <a:gd name="connsiteY6" fmla="*/ 1295400 h 3812304"/>
              <a:gd name="connsiteX7" fmla="*/ 630462 w 3095172"/>
              <a:gd name="connsiteY7" fmla="*/ 2594430 h 3812304"/>
              <a:gd name="connsiteX8" fmla="*/ 927098 w 3095172"/>
              <a:gd name="connsiteY8" fmla="*/ 3420734 h 3812304"/>
              <a:gd name="connsiteX9" fmla="*/ 1005858 w 3095172"/>
              <a:gd name="connsiteY9" fmla="*/ 3507392 h 3812304"/>
              <a:gd name="connsiteX10" fmla="*/ 949568 w 3095172"/>
              <a:gd name="connsiteY10" fmla="*/ 3535680 h 3812304"/>
              <a:gd name="connsiteX11" fmla="*/ 18812 w 3095172"/>
              <a:gd name="connsiteY11" fmla="*/ 3809914 h 3812304"/>
              <a:gd name="connsiteX12" fmla="*/ 0 w 3095172"/>
              <a:gd name="connsiteY12" fmla="*/ 3812304 h 3812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95172" h="3812304">
                <a:moveTo>
                  <a:pt x="0" y="0"/>
                </a:moveTo>
                <a:lnTo>
                  <a:pt x="3084978" y="0"/>
                </a:lnTo>
                <a:lnTo>
                  <a:pt x="3095172" y="222703"/>
                </a:lnTo>
                <a:cubicBezTo>
                  <a:pt x="3095172" y="676792"/>
                  <a:pt x="3011772" y="1111402"/>
                  <a:pt x="2859453" y="1512050"/>
                </a:cubicBezTo>
                <a:lnTo>
                  <a:pt x="2805425" y="1637142"/>
                </a:lnTo>
                <a:lnTo>
                  <a:pt x="2755796" y="1592036"/>
                </a:lnTo>
                <a:cubicBezTo>
                  <a:pt x="2531247" y="1406721"/>
                  <a:pt x="2243369" y="1295400"/>
                  <a:pt x="1929492" y="1295400"/>
                </a:cubicBezTo>
                <a:cubicBezTo>
                  <a:pt x="1212058" y="1295400"/>
                  <a:pt x="630462" y="1876996"/>
                  <a:pt x="630462" y="2594430"/>
                </a:cubicBezTo>
                <a:cubicBezTo>
                  <a:pt x="630462" y="2908308"/>
                  <a:pt x="741783" y="3196185"/>
                  <a:pt x="927098" y="3420734"/>
                </a:cubicBezTo>
                <a:lnTo>
                  <a:pt x="1005858" y="3507392"/>
                </a:lnTo>
                <a:lnTo>
                  <a:pt x="949568" y="3535680"/>
                </a:lnTo>
                <a:cubicBezTo>
                  <a:pt x="657717" y="3666560"/>
                  <a:pt x="345428" y="3760008"/>
                  <a:pt x="18812" y="3809914"/>
                </a:cubicBezTo>
                <a:lnTo>
                  <a:pt x="0" y="3812304"/>
                </a:lnTo>
                <a:close/>
              </a:path>
            </a:pathLst>
          </a:custGeom>
          <a:pattFill prst="dkDnDiag">
            <a:fgClr>
              <a:schemeClr val="tx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01CB9B4-5CBA-4709-A059-ED1871811C8F}"/>
              </a:ext>
            </a:extLst>
          </p:cNvPr>
          <p:cNvSpPr/>
          <p:nvPr/>
        </p:nvSpPr>
        <p:spPr>
          <a:xfrm>
            <a:off x="840833" y="1369112"/>
            <a:ext cx="2348163" cy="2348163"/>
          </a:xfrm>
          <a:prstGeom prst="ellipse">
            <a:avLst/>
          </a:prstGeom>
          <a:pattFill prst="dkUpDiag">
            <a:fgClr>
              <a:schemeClr val="accent6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3BAD4DE-B7E2-4A40-A7BC-FE66B92D43D5}"/>
              </a:ext>
            </a:extLst>
          </p:cNvPr>
          <p:cNvCxnSpPr>
            <a:cxnSpLocks/>
          </p:cNvCxnSpPr>
          <p:nvPr/>
        </p:nvCxnSpPr>
        <p:spPr>
          <a:xfrm flipH="1">
            <a:off x="10426700" y="5723239"/>
            <a:ext cx="17653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F9DD2454-E86B-4E74-BB0F-2B099ACDC465}"/>
              </a:ext>
            </a:extLst>
          </p:cNvPr>
          <p:cNvSpPr/>
          <p:nvPr/>
        </p:nvSpPr>
        <p:spPr>
          <a:xfrm>
            <a:off x="9427861" y="5187950"/>
            <a:ext cx="1070578" cy="107057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822E628-78CA-4E7A-9CAF-4732B56EA594}"/>
              </a:ext>
            </a:extLst>
          </p:cNvPr>
          <p:cNvSpPr/>
          <p:nvPr/>
        </p:nvSpPr>
        <p:spPr>
          <a:xfrm>
            <a:off x="10137561" y="5434101"/>
            <a:ext cx="578277" cy="57827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4B4032F-BA24-4100-9FA4-F75CFBB1FFDA}"/>
              </a:ext>
            </a:extLst>
          </p:cNvPr>
          <p:cNvGrpSpPr/>
          <p:nvPr/>
        </p:nvGrpSpPr>
        <p:grpSpPr>
          <a:xfrm rot="16200000" flipV="1">
            <a:off x="-636227" y="5411263"/>
            <a:ext cx="1729654" cy="848268"/>
            <a:chOff x="233739" y="283295"/>
            <a:chExt cx="1729654" cy="848268"/>
          </a:xfrm>
          <a:gradFill>
            <a:gsLst>
              <a:gs pos="0">
                <a:schemeClr val="accent5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6EC4567-4DD5-4E8B-A1EB-D8A318ADD0CE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6BF98E30-4FD7-458E-8D93-C10CA5F531E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CAA03B45-B3FF-4D68-9F84-041B4E84112F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731046F8-2B37-437B-B618-E39A5E47BE1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761B0E2-0012-4D2F-ACA0-D770AFF21A8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AD337897-012F-47AC-BE5B-86ECD7AC715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78C7B86F-D001-47C8-9095-37661820773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D1C208E1-879B-4CE1-9428-46EFA3DDE5D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4ADFA85-BBF8-4839-AAFE-87799100CB31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201B9EF-BEA9-430D-AE39-6D3B4ECDC42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01EC8336-FE36-4556-803E-2C89ECD725D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EBF48A5-FC85-4FFB-B8ED-7036DB631521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863CC1D-C29C-4DDF-A095-A41A3BE95405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5299544-DB22-41FA-A650-1BA752C6B60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FDFE8622-900D-429D-99DD-ECA2BFB54F0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9CD0ACC-7FEB-4130-9A6B-5D7FEEF65B08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B98541BA-1B29-4D5C-9535-A0AEE33BD852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E9850825-8344-4D0A-BEBB-1F374068E8FB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6D7C6291-7EC8-418B-BB0D-139F56040CDD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2B724814-805A-404F-98D0-B1EE99C667D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8B6C967-D78B-4C18-99AF-1F8B4FDDA4F2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A51C219C-5DFD-465F-B68C-9EFE22653650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3D3A2E2-69A2-44B8-8F65-D6E58A09DB57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C6ABFBF0-D4E0-4DA9-9883-9E0F168DDF46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88435DC7-FF73-45F6-B3CA-CD53743B9C7C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8966C4EE-0DE8-4D87-8C08-AC8588E7073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002904D4-C7FE-4C5F-BF98-5D5DC3B5EB2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E4056F36-8292-4726-AF18-9F261E056B8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DF0AF2B3-F4CB-4A1D-82EF-304ECA9D8ED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1EBBFCCC-4227-44D9-8FED-04097478DAB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CEDA088C-C13B-4FB8-BF32-AB8F8AA188C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FEFC7C67-A0EE-40E1-B58B-EDD7CCD1A152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6A1EA8E-0C45-4DA3-9E23-479F15887AE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A5A84E9-49CC-4DF3-B71A-22A7DE87C15D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EDD817FE-3A8E-4646-8D82-9E211CC38D7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B85F09D4-1F47-42E2-9350-487FBEC67AE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B787361-5A57-45A6-9E9A-43DCFDCF66E0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7BD0B4D3-44B2-4779-A359-00818FDDC88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0752F48-E3E2-46E3-B979-ED9139587B6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F2282A3-C1DC-498F-A403-F4F3CF8BD7C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58046551-2CCD-4274-A11E-FBF6C0F1C7D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50CA7E90-3E6E-471C-B9E3-62C83357CF87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97FE5676-96C7-4C2B-B924-62B347A452E3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944ED0B2-4919-46B7-AE2E-7812543B4E29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1A0D25D6-4FB0-48A1-B1EA-6840562025C0}"/>
              </a:ext>
            </a:extLst>
          </p:cNvPr>
          <p:cNvGrpSpPr/>
          <p:nvPr/>
        </p:nvGrpSpPr>
        <p:grpSpPr>
          <a:xfrm>
            <a:off x="10290370" y="240716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5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3826C9E7-5684-47B2-B110-6D3274BBEEB3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67A346A0-F17E-4F68-B4DC-28DB0088FAC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E8A6C77B-F677-4BB2-829B-642B326B072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85954BB-9495-4C7F-B2DA-9879B553F3C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54F40B-97CA-4453-AAF6-114C9E1B4551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B533063-E13E-465C-BEA1-BD4CE3111F6C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472546CD-285E-476C-BF35-17E88947490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E94C806-2422-4FFC-B15B-C0FE1E3AD7C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46242270-84EE-4B5B-BB49-A09FD4A772F0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AB79E7EB-A291-4FF3-A04F-831BA36FF934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75C9E77B-6C41-47D8-BBB5-F1D5A40E5DE6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BF74D9D0-3463-496E-9E57-271C6863E0B9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42FE6857-9CEC-4448-9F32-7F3BFEA6406A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261863F8-024D-49BD-9002-8A6EB4620854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04259CCB-B97C-4B00-AC4A-9B34F1574E9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D0612675-47C5-429B-9480-D6A1A25F50F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6831949D-1594-4691-8983-CA614B5E9CF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2021F83D-71DC-436F-BAFB-16C3799F377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ADDCEA54-8606-4C07-9B58-1C341ADFCE46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A80E6E6-C352-4CFF-977D-C05C3F7DF04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F94F6FEB-C672-4C3D-BF3F-7691697BBC6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20DCA553-B015-4F5C-9110-7C244BA7BFE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E8F163E1-EA2D-4102-8CBD-380C5D6E0631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02B7E838-4D7D-49FC-B526-B567A6D7000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61E71965-CF59-451D-A5B9-9D2DDDE20685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E1F32D79-3D9A-43B5-9DAA-8A5F5443F89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ECE3A047-90F3-4CE7-9C5D-134BF3E78B7A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30033215-AEAC-4435-8215-9F4991DC30A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2F7E7E5E-351A-4DC0-9C34-4E5CFB29572F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DB2DF9D3-0EAF-44A8-8933-C5945E70990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36FD165A-9970-4F2E-8323-AC3838CDA4B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40ABF239-2CDC-4141-8D0B-E12FE55DB91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C8CF35B-4527-4F46-AD78-B347C524CD39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1A64456-6008-4020-8348-42E9302956B7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15AA0164-BFA0-4CAD-8F7E-9C7AE924601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AA2216D6-5A6B-4908-A34A-0E023CC6AAFA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A5F5CA25-2769-435F-920E-C76E9B9BC9BC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00777CB-A477-4B9F-BA9F-87E8663FB58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2171D77A-68F3-4EC2-9A78-3E6959988EE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AD2DE8D-5310-4D6E-B846-BD857B1E153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FC941698-D2B7-4EB6-A808-55534BDBB4C0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F8E7C8A4-02BF-4319-BCC3-35B6201A8153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F379B05-DF67-4044-B9F3-67968CC202B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61C7E10B-87FE-40A7-9FAE-140561BCD24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34" name="Oval 133">
            <a:extLst>
              <a:ext uri="{FF2B5EF4-FFF2-40B4-BE49-F238E27FC236}">
                <a16:creationId xmlns:a16="http://schemas.microsoft.com/office/drawing/2014/main" id="{3534A283-D6F1-4E8B-BF3A-28D16348D5B4}"/>
              </a:ext>
            </a:extLst>
          </p:cNvPr>
          <p:cNvSpPr/>
          <p:nvPr/>
        </p:nvSpPr>
        <p:spPr>
          <a:xfrm>
            <a:off x="339171" y="1022603"/>
            <a:ext cx="3143652" cy="3143652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261AEE3D-9001-4C82-9DCD-CE42686F6937}"/>
              </a:ext>
            </a:extLst>
          </p:cNvPr>
          <p:cNvGrpSpPr/>
          <p:nvPr/>
        </p:nvGrpSpPr>
        <p:grpSpPr>
          <a:xfrm rot="16200000" flipV="1">
            <a:off x="365259" y="5411263"/>
            <a:ext cx="1729654" cy="848268"/>
            <a:chOff x="233739" y="283295"/>
            <a:chExt cx="1729654" cy="848268"/>
          </a:xfrm>
          <a:gradFill>
            <a:gsLst>
              <a:gs pos="0">
                <a:schemeClr val="accent5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A5342358-1EB6-4780-8BC4-8D9B3EA7FACB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C4A8087B-C0B5-434A-A10C-7B33D44DAB28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CD74B87B-D028-457A-A5FF-84E278F287C4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53E695C5-B56F-421A-83BD-26FDD28CE86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C9EA34F2-8413-45DD-9BEB-6721A0607A3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BC699E6A-F376-496E-A473-BFA2EDFD2C52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B775EE77-4331-4300-9950-3C56C64D87A0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C4A03368-58BB-4D4A-94D8-39C4E5D9C8E9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58FFF12A-C9F4-402C-9848-BC33F625940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D37447ED-8E75-4B63-9F63-1D2FE87442B4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35F4C134-D2CC-4C05-BF71-4B0D7CFD9F2C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C5194267-A20B-46A0-A387-B52E950F9AC5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B7DB14D3-21BD-459D-9C64-0E1365C9ABDF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4FBF5261-2A31-430C-AC04-10812F49FA5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9FA16A2D-28FB-41DE-BAB7-71775174DF1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303D510-B18F-4CA3-A94A-795706CF8937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F1C79B2E-71EC-464D-8DB7-459CEDDDD580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4C12D633-93EB-40AD-8CAE-214CAAC7E310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D64EFEAF-8662-4F95-8E60-18C21BCD8D1E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CCD9501B-D6C6-481F-B3D1-C22C6099B82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87C33B58-B6A6-4904-835B-3F014CD8098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1E181BB5-A304-4163-A860-D5824DC1E96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C666A0C8-90C3-4AE5-AB66-673AA2FD8FD7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A0852113-F440-48C1-BACC-32044655ED39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474DAE9-8E5E-4D44-B6D3-DF2A03E00F2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8E0F1E20-18FB-4529-AF64-7B8E700705B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D0E06559-C5AE-4654-AC9E-25CC2D306A2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4B224CDD-C016-401C-8884-F5F1C3CFDA8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4A537160-05BE-4E0A-B558-CDEF372F954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E4DAE5C0-B672-4B98-AC09-630C6E884B5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3343B6A1-959F-4F80-B5FF-6BEDDFD720E0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6926F93A-D2BA-45F8-A88E-A4A4AF4CEDE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4C61F4F3-5C3A-4FCF-BFBB-08D5F4DABD82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02B398F-6A9A-4537-8A5A-ABAD452CCC88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B6315008-829B-4456-8C70-C0C92FA9397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81C9520D-31BA-4C4E-928B-5D745854F2F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9CDD773E-2901-4128-A2EB-1DE988ABA9F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672561CD-8371-4BAA-949D-45F7CE21717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E92666E2-D47E-46A2-BA26-1DB275D6F39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B4376473-9396-4CF0-A5C4-BFB56CA049D7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0F220628-EF66-4DF5-ABD2-C51E81F1A8D6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563AEB5C-01CF-499E-A735-43F622168FA0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2AA6AE08-C2E9-4229-A95C-B3B78C3BE79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94C4C55B-CDDF-4959-9F23-AD852B0C613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7DF08E34-F84D-4D03-BF32-87385864C229}"/>
              </a:ext>
            </a:extLst>
          </p:cNvPr>
          <p:cNvCxnSpPr>
            <a:cxnSpLocks/>
          </p:cNvCxnSpPr>
          <p:nvPr/>
        </p:nvCxnSpPr>
        <p:spPr>
          <a:xfrm>
            <a:off x="1929491" y="-14514"/>
            <a:ext cx="0" cy="1045028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9AF6CD69-72B4-406D-AC8B-6102A29968B9}"/>
              </a:ext>
            </a:extLst>
          </p:cNvPr>
          <p:cNvCxnSpPr>
            <a:cxnSpLocks/>
          </p:cNvCxnSpPr>
          <p:nvPr/>
        </p:nvCxnSpPr>
        <p:spPr>
          <a:xfrm flipH="1">
            <a:off x="-3481" y="2594429"/>
            <a:ext cx="327572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Title 1">
            <a:extLst>
              <a:ext uri="{FF2B5EF4-FFF2-40B4-BE49-F238E27FC236}">
                <a16:creationId xmlns:a16="http://schemas.microsoft.com/office/drawing/2014/main" id="{956774D7-C215-490D-9434-4A2580135597}"/>
              </a:ext>
            </a:extLst>
          </p:cNvPr>
          <p:cNvSpPr txBox="1">
            <a:spLocks/>
          </p:cNvSpPr>
          <p:nvPr/>
        </p:nvSpPr>
        <p:spPr>
          <a:xfrm>
            <a:off x="566142" y="2084901"/>
            <a:ext cx="2817442" cy="110799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sented</a:t>
            </a:r>
          </a:p>
          <a:p>
            <a:pPr algn="ctr">
              <a:lnSpc>
                <a:spcPct val="100000"/>
              </a:lnSpc>
            </a:pPr>
            <a:r>
              <a:rPr lang="en-US" sz="3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</a:t>
            </a:r>
          </a:p>
        </p:txBody>
      </p:sp>
      <p:sp>
        <p:nvSpPr>
          <p:cNvPr id="182" name="Title 1">
            <a:extLst>
              <a:ext uri="{FF2B5EF4-FFF2-40B4-BE49-F238E27FC236}">
                <a16:creationId xmlns:a16="http://schemas.microsoft.com/office/drawing/2014/main" id="{03B6F112-D6B1-4A14-87E6-C84B873D8409}"/>
              </a:ext>
            </a:extLst>
          </p:cNvPr>
          <p:cNvSpPr txBox="1">
            <a:spLocks/>
          </p:cNvSpPr>
          <p:nvPr/>
        </p:nvSpPr>
        <p:spPr>
          <a:xfrm>
            <a:off x="3999565" y="367269"/>
            <a:ext cx="3990155" cy="15388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Team Member - 01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ame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unazzinur Rahman Kabbo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D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9202103268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take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44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c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07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-mail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9202103268@cse.bubt.edu.bd</a:t>
            </a:r>
            <a:endParaRPr lang="en-US" sz="2800" b="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5" name="Title 1">
            <a:extLst>
              <a:ext uri="{FF2B5EF4-FFF2-40B4-BE49-F238E27FC236}">
                <a16:creationId xmlns:a16="http://schemas.microsoft.com/office/drawing/2014/main" id="{8468034A-5E56-424B-BE7D-692D70002696}"/>
              </a:ext>
            </a:extLst>
          </p:cNvPr>
          <p:cNvSpPr txBox="1">
            <a:spLocks/>
          </p:cNvSpPr>
          <p:nvPr/>
        </p:nvSpPr>
        <p:spPr>
          <a:xfrm>
            <a:off x="3999564" y="367268"/>
            <a:ext cx="3990155" cy="15388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Team Member - 02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ame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D. </a:t>
            </a:r>
            <a:r>
              <a:rPr lang="en-US" sz="1600" b="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Zobayer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Hasan </a:t>
            </a:r>
            <a:r>
              <a:rPr lang="en-US" sz="1600" b="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ayem</a:t>
            </a:r>
            <a:endParaRPr lang="en-US" sz="1600" b="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D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9202103274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take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44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c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07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-mail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9202103274@cse.bubt.edu.bd</a:t>
            </a:r>
            <a:endParaRPr lang="en-US" sz="2800" b="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6" name="Title 1">
            <a:extLst>
              <a:ext uri="{FF2B5EF4-FFF2-40B4-BE49-F238E27FC236}">
                <a16:creationId xmlns:a16="http://schemas.microsoft.com/office/drawing/2014/main" id="{C3C90D4D-8B5C-4BC9-84A4-45492C66DD88}"/>
              </a:ext>
            </a:extLst>
          </p:cNvPr>
          <p:cNvSpPr txBox="1">
            <a:spLocks/>
          </p:cNvSpPr>
          <p:nvPr/>
        </p:nvSpPr>
        <p:spPr>
          <a:xfrm>
            <a:off x="3999563" y="352073"/>
            <a:ext cx="3990155" cy="15388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Team Member - 03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ame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D. Mehedi Hasan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D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9202103264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take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44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c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07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-mail: </a:t>
            </a:r>
            <a:r>
              <a:rPr lang="en-US" sz="1600" b="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9202103264@cse.bubt.edu.bd</a:t>
            </a:r>
            <a:endParaRPr lang="en-US" sz="2800" b="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7414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5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7.40741E-7 L 0.11119 -7.40741E-7 C 0.16106 -7.40741E-7 0.22265 0.07107 0.22265 0.12894 L 0.22265 0.2581 " pathEditMode="relative" rAng="0" ptsTypes="AAAA">
                                      <p:cBhvr>
                                        <p:cTn id="22" dur="20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33" y="128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500"/>
                            </p:stCondLst>
                            <p:childTnLst>
                              <p:par>
                                <p:cTn id="24" presetID="1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1" presetClass="entr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7.40741E-7 L 0.01497 0.5412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42" y="270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0" grpId="0"/>
      <p:bldP spid="182" grpId="0"/>
      <p:bldP spid="182" grpId="1"/>
      <p:bldP spid="182" grpId="2"/>
      <p:bldP spid="182" grpId="3"/>
      <p:bldP spid="182" grpId="4"/>
      <p:bldP spid="185" grpId="0"/>
      <p:bldP spid="185" grpId="1"/>
      <p:bldP spid="186" grpId="0"/>
      <p:bldP spid="186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EF3866-0F46-428D-B7FA-0FC3D1FD1D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00" b="6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CA1E79-EDA9-4AC8-ACA5-1DFC75DEFF30}"/>
              </a:ext>
            </a:extLst>
          </p:cNvPr>
          <p:cNvSpPr/>
          <p:nvPr/>
        </p:nvSpPr>
        <p:spPr>
          <a:xfrm>
            <a:off x="-9572" y="-14514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/>
              </a:gs>
              <a:gs pos="53000">
                <a:schemeClr val="tx1">
                  <a:alpha val="8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1061280-2CC9-4868-9419-4DB07D6057D5}"/>
              </a:ext>
            </a:extLst>
          </p:cNvPr>
          <p:cNvSpPr/>
          <p:nvPr/>
        </p:nvSpPr>
        <p:spPr>
          <a:xfrm rot="10800000">
            <a:off x="8942411" y="2848619"/>
            <a:ext cx="3243393" cy="3994867"/>
          </a:xfrm>
          <a:custGeom>
            <a:avLst/>
            <a:gdLst>
              <a:gd name="connsiteX0" fmla="*/ 0 w 3095172"/>
              <a:gd name="connsiteY0" fmla="*/ 0 h 3812304"/>
              <a:gd name="connsiteX1" fmla="*/ 3084978 w 3095172"/>
              <a:gd name="connsiteY1" fmla="*/ 0 h 3812304"/>
              <a:gd name="connsiteX2" fmla="*/ 3095172 w 3095172"/>
              <a:gd name="connsiteY2" fmla="*/ 222703 h 3812304"/>
              <a:gd name="connsiteX3" fmla="*/ 2859453 w 3095172"/>
              <a:gd name="connsiteY3" fmla="*/ 1512050 h 3812304"/>
              <a:gd name="connsiteX4" fmla="*/ 2805425 w 3095172"/>
              <a:gd name="connsiteY4" fmla="*/ 1637142 h 3812304"/>
              <a:gd name="connsiteX5" fmla="*/ 2755796 w 3095172"/>
              <a:gd name="connsiteY5" fmla="*/ 1592036 h 3812304"/>
              <a:gd name="connsiteX6" fmla="*/ 1929492 w 3095172"/>
              <a:gd name="connsiteY6" fmla="*/ 1295400 h 3812304"/>
              <a:gd name="connsiteX7" fmla="*/ 630462 w 3095172"/>
              <a:gd name="connsiteY7" fmla="*/ 2594430 h 3812304"/>
              <a:gd name="connsiteX8" fmla="*/ 927098 w 3095172"/>
              <a:gd name="connsiteY8" fmla="*/ 3420734 h 3812304"/>
              <a:gd name="connsiteX9" fmla="*/ 1005858 w 3095172"/>
              <a:gd name="connsiteY9" fmla="*/ 3507392 h 3812304"/>
              <a:gd name="connsiteX10" fmla="*/ 949568 w 3095172"/>
              <a:gd name="connsiteY10" fmla="*/ 3535680 h 3812304"/>
              <a:gd name="connsiteX11" fmla="*/ 18812 w 3095172"/>
              <a:gd name="connsiteY11" fmla="*/ 3809914 h 3812304"/>
              <a:gd name="connsiteX12" fmla="*/ 0 w 3095172"/>
              <a:gd name="connsiteY12" fmla="*/ 3812304 h 3812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95172" h="3812304">
                <a:moveTo>
                  <a:pt x="0" y="0"/>
                </a:moveTo>
                <a:lnTo>
                  <a:pt x="3084978" y="0"/>
                </a:lnTo>
                <a:lnTo>
                  <a:pt x="3095172" y="222703"/>
                </a:lnTo>
                <a:cubicBezTo>
                  <a:pt x="3095172" y="676792"/>
                  <a:pt x="3011772" y="1111402"/>
                  <a:pt x="2859453" y="1512050"/>
                </a:cubicBezTo>
                <a:lnTo>
                  <a:pt x="2805425" y="1637142"/>
                </a:lnTo>
                <a:lnTo>
                  <a:pt x="2755796" y="1592036"/>
                </a:lnTo>
                <a:cubicBezTo>
                  <a:pt x="2531247" y="1406721"/>
                  <a:pt x="2243369" y="1295400"/>
                  <a:pt x="1929492" y="1295400"/>
                </a:cubicBezTo>
                <a:cubicBezTo>
                  <a:pt x="1212058" y="1295400"/>
                  <a:pt x="630462" y="1876996"/>
                  <a:pt x="630462" y="2594430"/>
                </a:cubicBezTo>
                <a:cubicBezTo>
                  <a:pt x="630462" y="2908308"/>
                  <a:pt x="741783" y="3196185"/>
                  <a:pt x="927098" y="3420734"/>
                </a:cubicBezTo>
                <a:lnTo>
                  <a:pt x="1005858" y="3507392"/>
                </a:lnTo>
                <a:lnTo>
                  <a:pt x="949568" y="3535680"/>
                </a:lnTo>
                <a:cubicBezTo>
                  <a:pt x="657717" y="3666560"/>
                  <a:pt x="345428" y="3760008"/>
                  <a:pt x="18812" y="3809914"/>
                </a:cubicBezTo>
                <a:lnTo>
                  <a:pt x="0" y="3812304"/>
                </a:lnTo>
                <a:close/>
              </a:path>
            </a:pathLst>
          </a:custGeom>
          <a:pattFill prst="dkDnDiag">
            <a:fgClr>
              <a:schemeClr val="tx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01CB9B4-5CBA-4709-A059-ED1871811C8F}"/>
              </a:ext>
            </a:extLst>
          </p:cNvPr>
          <p:cNvSpPr/>
          <p:nvPr/>
        </p:nvSpPr>
        <p:spPr>
          <a:xfrm>
            <a:off x="9014855" y="2963668"/>
            <a:ext cx="2348163" cy="2348163"/>
          </a:xfrm>
          <a:prstGeom prst="ellipse">
            <a:avLst/>
          </a:prstGeom>
          <a:pattFill prst="dkUpDiag">
            <a:fgClr>
              <a:schemeClr val="accent6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3BAD4DE-B7E2-4A40-A7BC-FE66B92D43D5}"/>
              </a:ext>
            </a:extLst>
          </p:cNvPr>
          <p:cNvCxnSpPr>
            <a:cxnSpLocks/>
          </p:cNvCxnSpPr>
          <p:nvPr/>
        </p:nvCxnSpPr>
        <p:spPr>
          <a:xfrm flipH="1">
            <a:off x="586211" y="6473242"/>
            <a:ext cx="17653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B822E628-78CA-4E7A-9CAF-4732B56EA594}"/>
              </a:ext>
            </a:extLst>
          </p:cNvPr>
          <p:cNvSpPr/>
          <p:nvPr/>
        </p:nvSpPr>
        <p:spPr>
          <a:xfrm>
            <a:off x="-90091" y="5070707"/>
            <a:ext cx="578277" cy="57827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4B4032F-BA24-4100-9FA4-F75CFBB1FFDA}"/>
              </a:ext>
            </a:extLst>
          </p:cNvPr>
          <p:cNvGrpSpPr/>
          <p:nvPr/>
        </p:nvGrpSpPr>
        <p:grpSpPr>
          <a:xfrm rot="16200000" flipV="1">
            <a:off x="9875590" y="334446"/>
            <a:ext cx="1729654" cy="848268"/>
            <a:chOff x="233739" y="283295"/>
            <a:chExt cx="1729654" cy="848268"/>
          </a:xfrm>
          <a:gradFill>
            <a:gsLst>
              <a:gs pos="0">
                <a:schemeClr val="accent5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6EC4567-4DD5-4E8B-A1EB-D8A318ADD0CE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6BF98E30-4FD7-458E-8D93-C10CA5F531E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CAA03B45-B3FF-4D68-9F84-041B4E84112F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731046F8-2B37-437B-B618-E39A5E47BE1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761B0E2-0012-4D2F-ACA0-D770AFF21A8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AD337897-012F-47AC-BE5B-86ECD7AC715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78C7B86F-D001-47C8-9095-37661820773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D1C208E1-879B-4CE1-9428-46EFA3DDE5D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4ADFA85-BBF8-4839-AAFE-87799100CB31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201B9EF-BEA9-430D-AE39-6D3B4ECDC42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01EC8336-FE36-4556-803E-2C89ECD725D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EBF48A5-FC85-4FFB-B8ED-7036DB631521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863CC1D-C29C-4DDF-A095-A41A3BE95405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5299544-DB22-41FA-A650-1BA752C6B60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FDFE8622-900D-429D-99DD-ECA2BFB54F09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9CD0ACC-7FEB-4130-9A6B-5D7FEEF65B08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B98541BA-1B29-4D5C-9535-A0AEE33BD852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E9850825-8344-4D0A-BEBB-1F374068E8FB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6D7C6291-7EC8-418B-BB0D-139F56040CDD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2B724814-805A-404F-98D0-B1EE99C667D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8B6C967-D78B-4C18-99AF-1F8B4FDDA4F2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A51C219C-5DFD-465F-B68C-9EFE22653650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3D3A2E2-69A2-44B8-8F65-D6E58A09DB57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C6ABFBF0-D4E0-4DA9-9883-9E0F168DDF46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88435DC7-FF73-45F6-B3CA-CD53743B9C7C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8966C4EE-0DE8-4D87-8C08-AC8588E7073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002904D4-C7FE-4C5F-BF98-5D5DC3B5EB2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E4056F36-8292-4726-AF18-9F261E056B8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DF0AF2B3-F4CB-4A1D-82EF-304ECA9D8ED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1EBBFCCC-4227-44D9-8FED-04097478DAB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CEDA088C-C13B-4FB8-BF32-AB8F8AA188C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FEFC7C67-A0EE-40E1-B58B-EDD7CCD1A152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6A1EA8E-0C45-4DA3-9E23-479F15887AE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A5A84E9-49CC-4DF3-B71A-22A7DE87C15D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EDD817FE-3A8E-4646-8D82-9E211CC38D7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B85F09D4-1F47-42E2-9350-487FBEC67AE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B787361-5A57-45A6-9E9A-43DCFDCF66E0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7BD0B4D3-44B2-4779-A359-00818FDDC88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0752F48-E3E2-46E3-B979-ED9139587B6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F2282A3-C1DC-498F-A403-F4F3CF8BD7C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58046551-2CCD-4274-A11E-FBF6C0F1C7D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50CA7E90-3E6E-471C-B9E3-62C83357CF87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97FE5676-96C7-4C2B-B924-62B347A452E3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944ED0B2-4919-46B7-AE2E-7812543B4E29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1A0D25D6-4FB0-48A1-B1EA-6840562025C0}"/>
              </a:ext>
            </a:extLst>
          </p:cNvPr>
          <p:cNvGrpSpPr/>
          <p:nvPr/>
        </p:nvGrpSpPr>
        <p:grpSpPr>
          <a:xfrm>
            <a:off x="-111097" y="-86551"/>
            <a:ext cx="2074346" cy="1017314"/>
            <a:chOff x="233739" y="283295"/>
            <a:chExt cx="1729654" cy="848268"/>
          </a:xfrm>
          <a:gradFill>
            <a:gsLst>
              <a:gs pos="100000">
                <a:schemeClr val="accent5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3826C9E7-5684-47B2-B110-6D3274BBEEB3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67A346A0-F17E-4F68-B4DC-28DB0088FAC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E8A6C77B-F677-4BB2-829B-642B326B072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85954BB-9495-4C7F-B2DA-9879B553F3C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54F40B-97CA-4453-AAF6-114C9E1B4551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B533063-E13E-465C-BEA1-BD4CE3111F6C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472546CD-285E-476C-BF35-17E88947490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E94C806-2422-4FFC-B15B-C0FE1E3AD7C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46242270-84EE-4B5B-BB49-A09FD4A772F0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AB79E7EB-A291-4FF3-A04F-831BA36FF934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75C9E77B-6C41-47D8-BBB5-F1D5A40E5DE6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BF74D9D0-3463-496E-9E57-271C6863E0B9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42FE6857-9CEC-4448-9F32-7F3BFEA6406A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261863F8-024D-49BD-9002-8A6EB4620854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04259CCB-B97C-4B00-AC4A-9B34F1574E9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D0612675-47C5-429B-9480-D6A1A25F50F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6831949D-1594-4691-8983-CA614B5E9CF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2021F83D-71DC-436F-BAFB-16C3799F377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ADDCEA54-8606-4C07-9B58-1C341ADFCE46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A80E6E6-C352-4CFF-977D-C05C3F7DF04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F94F6FEB-C672-4C3D-BF3F-7691697BBC6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20DCA553-B015-4F5C-9110-7C244BA7BFE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E8F163E1-EA2D-4102-8CBD-380C5D6E0631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02B7E838-4D7D-49FC-B526-B567A6D7000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61E71965-CF59-451D-A5B9-9D2DDDE20685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E1F32D79-3D9A-43B5-9DAA-8A5F5443F89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ECE3A047-90F3-4CE7-9C5D-134BF3E78B7A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30033215-AEAC-4435-8215-9F4991DC30A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2F7E7E5E-351A-4DC0-9C34-4E5CFB29572F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DB2DF9D3-0EAF-44A8-8933-C5945E70990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36FD165A-9970-4F2E-8323-AC3838CDA4B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40ABF239-2CDC-4141-8D0B-E12FE55DB91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C8CF35B-4527-4F46-AD78-B347C524CD39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1A64456-6008-4020-8348-42E9302956B7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15AA0164-BFA0-4CAD-8F7E-9C7AE924601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AA2216D6-5A6B-4908-A34A-0E023CC6AAFA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A5F5CA25-2769-435F-920E-C76E9B9BC9BC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00777CB-A477-4B9F-BA9F-87E8663FB58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2171D77A-68F3-4EC2-9A78-3E6959988EE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AD2DE8D-5310-4D6E-B846-BD857B1E153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FC941698-D2B7-4EB6-A808-55534BDBB4C0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F8E7C8A4-02BF-4319-BCC3-35B6201A8153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F379B05-DF67-4044-B9F3-67968CC202B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61C7E10B-87FE-40A7-9FAE-140561BCD24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34" name="Oval 133">
            <a:extLst>
              <a:ext uri="{FF2B5EF4-FFF2-40B4-BE49-F238E27FC236}">
                <a16:creationId xmlns:a16="http://schemas.microsoft.com/office/drawing/2014/main" id="{3534A283-D6F1-4E8B-BF3A-28D16348D5B4}"/>
              </a:ext>
            </a:extLst>
          </p:cNvPr>
          <p:cNvSpPr/>
          <p:nvPr/>
        </p:nvSpPr>
        <p:spPr>
          <a:xfrm>
            <a:off x="8590193" y="2682569"/>
            <a:ext cx="3143652" cy="3143652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261AEE3D-9001-4C82-9DCD-CE42686F6937}"/>
              </a:ext>
            </a:extLst>
          </p:cNvPr>
          <p:cNvGrpSpPr/>
          <p:nvPr/>
        </p:nvGrpSpPr>
        <p:grpSpPr>
          <a:xfrm rot="16200000" flipV="1">
            <a:off x="10852737" y="354143"/>
            <a:ext cx="1729654" cy="848268"/>
            <a:chOff x="233739" y="283295"/>
            <a:chExt cx="1729654" cy="848268"/>
          </a:xfrm>
          <a:gradFill>
            <a:gsLst>
              <a:gs pos="0">
                <a:schemeClr val="accent5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A5342358-1EB6-4780-8BC4-8D9B3EA7FACB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C4A8087B-C0B5-434A-A10C-7B33D44DAB28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CD74B87B-D028-457A-A5FF-84E278F287C4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53E695C5-B56F-421A-83BD-26FDD28CE86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C9EA34F2-8413-45DD-9BEB-6721A0607A3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BC699E6A-F376-496E-A473-BFA2EDFD2C52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B775EE77-4331-4300-9950-3C56C64D87A0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C4A03368-58BB-4D4A-94D8-39C4E5D9C8E9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58FFF12A-C9F4-402C-9848-BC33F625940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D37447ED-8E75-4B63-9F63-1D2FE87442B4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35F4C134-D2CC-4C05-BF71-4B0D7CFD9F2C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C5194267-A20B-46A0-A387-B52E950F9AC5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B7DB14D3-21BD-459D-9C64-0E1365C9ABDF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4FBF5261-2A31-430C-AC04-10812F49FA5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9FA16A2D-28FB-41DE-BAB7-71775174DF1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303D510-B18F-4CA3-A94A-795706CF8937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F1C79B2E-71EC-464D-8DB7-459CEDDDD580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4C12D633-93EB-40AD-8CAE-214CAAC7E310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D64EFEAF-8662-4F95-8E60-18C21BCD8D1E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CCD9501B-D6C6-481F-B3D1-C22C6099B82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87C33B58-B6A6-4904-835B-3F014CD8098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1E181BB5-A304-4163-A860-D5824DC1E96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C666A0C8-90C3-4AE5-AB66-673AA2FD8FD7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A0852113-F440-48C1-BACC-32044655ED39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474DAE9-8E5E-4D44-B6D3-DF2A03E00F2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8E0F1E20-18FB-4529-AF64-7B8E700705B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D0E06559-C5AE-4654-AC9E-25CC2D306A2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4B224CDD-C016-401C-8884-F5F1C3CFDA8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4A537160-05BE-4E0A-B558-CDEF372F954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E4DAE5C0-B672-4B98-AC09-630C6E884B5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3343B6A1-959F-4F80-B5FF-6BEDDFD720E0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6926F93A-D2BA-45F8-A88E-A4A4AF4CEDE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4C61F4F3-5C3A-4FCF-BFBB-08D5F4DABD82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02B398F-6A9A-4537-8A5A-ABAD452CCC88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B6315008-829B-4456-8C70-C0C92FA9397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81C9520D-31BA-4C4E-928B-5D745854F2F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9CDD773E-2901-4128-A2EB-1DE988ABA9F6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672561CD-8371-4BAA-949D-45F7CE21717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E92666E2-D47E-46A2-BA26-1DB275D6F39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B4376473-9396-4CF0-A5C4-BFB56CA049D7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0F220628-EF66-4DF5-ABD2-C51E81F1A8D6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563AEB5C-01CF-499E-A735-43F622168FA0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2AA6AE08-C2E9-4229-A95C-B3B78C3BE79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94C4C55B-CDDF-4959-9F23-AD852B0C613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7DF08E34-F84D-4D03-BF32-87385864C229}"/>
              </a:ext>
            </a:extLst>
          </p:cNvPr>
          <p:cNvCxnSpPr>
            <a:cxnSpLocks/>
          </p:cNvCxnSpPr>
          <p:nvPr/>
        </p:nvCxnSpPr>
        <p:spPr>
          <a:xfrm>
            <a:off x="10056454" y="5826221"/>
            <a:ext cx="0" cy="1045028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9AF6CD69-72B4-406D-AC8B-6102A29968B9}"/>
              </a:ext>
            </a:extLst>
          </p:cNvPr>
          <p:cNvCxnSpPr>
            <a:cxnSpLocks/>
          </p:cNvCxnSpPr>
          <p:nvPr/>
        </p:nvCxnSpPr>
        <p:spPr>
          <a:xfrm flipH="1">
            <a:off x="11733845" y="4147598"/>
            <a:ext cx="545241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CEB9634D-C530-40B4-A1C1-7E6E5AFEDB0E}"/>
              </a:ext>
            </a:extLst>
          </p:cNvPr>
          <p:cNvCxnSpPr>
            <a:cxnSpLocks/>
          </p:cNvCxnSpPr>
          <p:nvPr/>
        </p:nvCxnSpPr>
        <p:spPr>
          <a:xfrm flipH="1">
            <a:off x="926076" y="6673637"/>
            <a:ext cx="1810944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F9DD2454-E86B-4E74-BB0F-2B099ACDC465}"/>
              </a:ext>
            </a:extLst>
          </p:cNvPr>
          <p:cNvSpPr/>
          <p:nvPr/>
        </p:nvSpPr>
        <p:spPr>
          <a:xfrm>
            <a:off x="-480761" y="5344496"/>
            <a:ext cx="1699631" cy="169963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Title 1">
            <a:extLst>
              <a:ext uri="{FF2B5EF4-FFF2-40B4-BE49-F238E27FC236}">
                <a16:creationId xmlns:a16="http://schemas.microsoft.com/office/drawing/2014/main" id="{03B6F112-D6B1-4A14-87E6-C84B873D8409}"/>
              </a:ext>
            </a:extLst>
          </p:cNvPr>
          <p:cNvSpPr txBox="1">
            <a:spLocks/>
          </p:cNvSpPr>
          <p:nvPr/>
        </p:nvSpPr>
        <p:spPr>
          <a:xfrm>
            <a:off x="8593849" y="3559169"/>
            <a:ext cx="3190174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roject</a:t>
            </a:r>
          </a:p>
          <a:p>
            <a:pPr algn="ctr">
              <a:lnSpc>
                <a:spcPct val="100000"/>
              </a:lnSpc>
            </a:pPr>
            <a:r>
              <a:rPr lang="en-US" sz="3600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Review</a:t>
            </a:r>
            <a:endParaRPr lang="en-US" b="0" spc="3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EF523C-AD7C-4A0B-8141-A0B8AB64D601}"/>
              </a:ext>
            </a:extLst>
          </p:cNvPr>
          <p:cNvSpPr txBox="1"/>
          <p:nvPr/>
        </p:nvSpPr>
        <p:spPr>
          <a:xfrm>
            <a:off x="2736739" y="1052123"/>
            <a:ext cx="583484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Introduction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Problem Definition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Proposed Model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System Requirements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Result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Conclusion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Future Work</a:t>
            </a:r>
          </a:p>
          <a:p>
            <a:pPr marL="571500" indent="-571500">
              <a:buFont typeface="Wingdings" panose="05000000000000000000" pitchFamily="2" charset="2"/>
              <a:buChar char="v"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con Rounded-" panose="00000500000000000000" pitchFamily="50" charset="0"/>
              </a:rPr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348493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2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42F45E7-7E3D-4589-9049-07B218C059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3" r="20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6C990B1-4642-4784-8516-7A2BDEC39513}"/>
              </a:ext>
            </a:extLst>
          </p:cNvPr>
          <p:cNvSpPr/>
          <p:nvPr/>
        </p:nvSpPr>
        <p:spPr>
          <a:xfrm>
            <a:off x="-9525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49000">
                <a:schemeClr val="tx1">
                  <a:alpha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59B658-F1DD-4235-A315-5FA31630973F}"/>
              </a:ext>
            </a:extLst>
          </p:cNvPr>
          <p:cNvSpPr/>
          <p:nvPr/>
        </p:nvSpPr>
        <p:spPr>
          <a:xfrm>
            <a:off x="8648700" y="5524500"/>
            <a:ext cx="3543300" cy="1047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1DEF-32DD-40D0-B63D-396863A5080A}"/>
              </a:ext>
            </a:extLst>
          </p:cNvPr>
          <p:cNvSpPr/>
          <p:nvPr/>
        </p:nvSpPr>
        <p:spPr>
          <a:xfrm>
            <a:off x="8243586" y="5723090"/>
            <a:ext cx="3543300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5DE0E6C-D4E2-46CE-95B9-CFEF563B5642}"/>
              </a:ext>
            </a:extLst>
          </p:cNvPr>
          <p:cNvSpPr/>
          <p:nvPr/>
        </p:nvSpPr>
        <p:spPr>
          <a:xfrm>
            <a:off x="-1536702" y="-1549402"/>
            <a:ext cx="3829958" cy="3829958"/>
          </a:xfrm>
          <a:custGeom>
            <a:avLst/>
            <a:gdLst>
              <a:gd name="connsiteX0" fmla="*/ 1914979 w 3829958"/>
              <a:gd name="connsiteY0" fmla="*/ 0 h 3829958"/>
              <a:gd name="connsiteX1" fmla="*/ 3829958 w 3829958"/>
              <a:gd name="connsiteY1" fmla="*/ 1914979 h 3829958"/>
              <a:gd name="connsiteX2" fmla="*/ 3743864 w 3829958"/>
              <a:gd name="connsiteY2" fmla="*/ 2484435 h 3829958"/>
              <a:gd name="connsiteX3" fmla="*/ 3736535 w 3829958"/>
              <a:gd name="connsiteY3" fmla="*/ 2504461 h 3829958"/>
              <a:gd name="connsiteX4" fmla="*/ 3691901 w 3829958"/>
              <a:gd name="connsiteY4" fmla="*/ 2490606 h 3829958"/>
              <a:gd name="connsiteX5" fmla="*/ 3555553 w 3829958"/>
              <a:gd name="connsiteY5" fmla="*/ 2476861 h 3829958"/>
              <a:gd name="connsiteX6" fmla="*/ 2879005 w 3829958"/>
              <a:gd name="connsiteY6" fmla="*/ 3153409 h 3829958"/>
              <a:gd name="connsiteX7" fmla="*/ 2932172 w 3829958"/>
              <a:gd name="connsiteY7" fmla="*/ 3416752 h 3829958"/>
              <a:gd name="connsiteX8" fmla="*/ 2980604 w 3829958"/>
              <a:gd name="connsiteY8" fmla="*/ 3505983 h 3829958"/>
              <a:gd name="connsiteX9" fmla="*/ 2827772 w 3829958"/>
              <a:gd name="connsiteY9" fmla="*/ 3598830 h 3829958"/>
              <a:gd name="connsiteX10" fmla="*/ 1914979 w 3829958"/>
              <a:gd name="connsiteY10" fmla="*/ 3829958 h 3829958"/>
              <a:gd name="connsiteX11" fmla="*/ 0 w 3829958"/>
              <a:gd name="connsiteY11" fmla="*/ 1914979 h 3829958"/>
              <a:gd name="connsiteX12" fmla="*/ 1914979 w 3829958"/>
              <a:gd name="connsiteY12" fmla="*/ 0 h 382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829958" h="3829958">
                <a:moveTo>
                  <a:pt x="1914979" y="0"/>
                </a:moveTo>
                <a:cubicBezTo>
                  <a:pt x="2972593" y="0"/>
                  <a:pt x="3829958" y="857365"/>
                  <a:pt x="3829958" y="1914979"/>
                </a:cubicBezTo>
                <a:cubicBezTo>
                  <a:pt x="3829958" y="2113282"/>
                  <a:pt x="3799816" y="2304544"/>
                  <a:pt x="3743864" y="2484435"/>
                </a:cubicBezTo>
                <a:lnTo>
                  <a:pt x="3736535" y="2504461"/>
                </a:lnTo>
                <a:lnTo>
                  <a:pt x="3691901" y="2490606"/>
                </a:lnTo>
                <a:cubicBezTo>
                  <a:pt x="3647859" y="2481594"/>
                  <a:pt x="3602259" y="2476861"/>
                  <a:pt x="3555553" y="2476861"/>
                </a:cubicBezTo>
                <a:cubicBezTo>
                  <a:pt x="3181906" y="2476861"/>
                  <a:pt x="2879005" y="2779762"/>
                  <a:pt x="2879005" y="3153409"/>
                </a:cubicBezTo>
                <a:cubicBezTo>
                  <a:pt x="2879005" y="3246821"/>
                  <a:pt x="2897936" y="3335811"/>
                  <a:pt x="2932172" y="3416752"/>
                </a:cubicBezTo>
                <a:lnTo>
                  <a:pt x="2980604" y="3505983"/>
                </a:lnTo>
                <a:lnTo>
                  <a:pt x="2827772" y="3598830"/>
                </a:lnTo>
                <a:cubicBezTo>
                  <a:pt x="2556432" y="3746231"/>
                  <a:pt x="2245483" y="3829958"/>
                  <a:pt x="1914979" y="3829958"/>
                </a:cubicBezTo>
                <a:cubicBezTo>
                  <a:pt x="857365" y="3829958"/>
                  <a:pt x="0" y="2972593"/>
                  <a:pt x="0" y="1914979"/>
                </a:cubicBezTo>
                <a:cubicBezTo>
                  <a:pt x="0" y="857365"/>
                  <a:pt x="857365" y="0"/>
                  <a:pt x="1914979" y="0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693BA1-2B08-47EB-AEAD-0DFA8395B271}"/>
              </a:ext>
            </a:extLst>
          </p:cNvPr>
          <p:cNvSpPr/>
          <p:nvPr/>
        </p:nvSpPr>
        <p:spPr>
          <a:xfrm>
            <a:off x="-1938848" y="-1951547"/>
            <a:ext cx="4634248" cy="4634248"/>
          </a:xfrm>
          <a:prstGeom prst="ellipse">
            <a:avLst/>
          </a:prstGeom>
          <a:noFill/>
          <a:ln w="190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B622297-A54D-4617-9EBC-CF6D576C5224}"/>
              </a:ext>
            </a:extLst>
          </p:cNvPr>
          <p:cNvSpPr/>
          <p:nvPr/>
        </p:nvSpPr>
        <p:spPr>
          <a:xfrm>
            <a:off x="1556761" y="1141917"/>
            <a:ext cx="924183" cy="9241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698AE66-5967-4786-9D8F-1A725F6FC702}"/>
              </a:ext>
            </a:extLst>
          </p:cNvPr>
          <p:cNvGrpSpPr/>
          <p:nvPr/>
        </p:nvGrpSpPr>
        <p:grpSpPr>
          <a:xfrm>
            <a:off x="10420350" y="285750"/>
            <a:ext cx="804758" cy="144689"/>
            <a:chOff x="4455886" y="479425"/>
            <a:chExt cx="804758" cy="14468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1A76E1-D6D8-4852-85B9-7FDD5ABBF3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47E7E72-EC7D-477B-8049-BBFC86FEFF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BAB7941-03C6-4F12-9E04-9077539D85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949FD28-7095-45B9-A159-1411E0D082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94CE044-D8F7-478D-AC0F-4B7B7EC814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DFADAC-57F4-4EB2-9CF7-1020DEA1EB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0A8832C-24F7-4903-86A4-6AE9F1C8E555}"/>
              </a:ext>
            </a:extLst>
          </p:cNvPr>
          <p:cNvCxnSpPr>
            <a:cxnSpLocks/>
          </p:cNvCxnSpPr>
          <p:nvPr/>
        </p:nvCxnSpPr>
        <p:spPr>
          <a:xfrm flipH="1">
            <a:off x="11201400" y="358094"/>
            <a:ext cx="98107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C96E1AB-AAFA-4C31-A014-04B75B16B1D9}"/>
              </a:ext>
            </a:extLst>
          </p:cNvPr>
          <p:cNvCxnSpPr>
            <a:cxnSpLocks/>
          </p:cNvCxnSpPr>
          <p:nvPr/>
        </p:nvCxnSpPr>
        <p:spPr>
          <a:xfrm>
            <a:off x="895816" y="2627086"/>
            <a:ext cx="0" cy="4211864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D8E0974-BC24-4BA5-97A3-EC9ED8F4A343}"/>
              </a:ext>
            </a:extLst>
          </p:cNvPr>
          <p:cNvCxnSpPr>
            <a:cxnSpLocks/>
          </p:cNvCxnSpPr>
          <p:nvPr/>
        </p:nvCxnSpPr>
        <p:spPr>
          <a:xfrm>
            <a:off x="529166" y="4838700"/>
            <a:ext cx="0" cy="200025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C026667-799F-4EB6-B96F-4D9051F3C6F9}"/>
              </a:ext>
            </a:extLst>
          </p:cNvPr>
          <p:cNvCxnSpPr>
            <a:cxnSpLocks/>
          </p:cNvCxnSpPr>
          <p:nvPr/>
        </p:nvCxnSpPr>
        <p:spPr>
          <a:xfrm>
            <a:off x="232283" y="6248400"/>
            <a:ext cx="0" cy="59055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476F0D7-F33E-4A33-9A25-D15E7B57E91D}"/>
              </a:ext>
            </a:extLst>
          </p:cNvPr>
          <p:cNvGrpSpPr/>
          <p:nvPr/>
        </p:nvGrpSpPr>
        <p:grpSpPr>
          <a:xfrm>
            <a:off x="2563916" y="358094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5D90828-5100-410A-8A8E-4687D38638FA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81DCCFD7-E0A5-47AD-986F-4F362EFA64B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CFB457A8-22BF-445D-8BE4-A5F0B8F28315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F9CE3CC5-6A7F-4EDF-98E8-87C0423E576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BC7124F4-4C3D-4E37-BAE9-9EDED01A0EA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D535BD03-2F0C-4000-88DC-929BE058361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3252F64-CB94-446A-9777-533DA0DFB361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EBA391DC-019F-4A84-880F-EE19B975D24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B1664578-5E45-4F3B-87FF-5CACEC9B8DFA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E03CCC18-FFEA-4FB8-9EFD-6C14B821CC83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9A5247D-C922-46D3-8D5E-C5BA40B504A7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2163A3C6-F6A5-4A7C-9540-CE170FFD1C11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38A5E62-0408-4617-838D-0C50A772158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6D471D9B-B1A8-4A13-B904-D1F99AE2A05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59015498-9B56-4E63-A85E-C9F3BC12C5F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072DCEF1-0785-4B65-AE1F-56F85C2FF31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FF75C609-B566-4B1B-9ADD-14310F3129D9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EB0BFA9-3F87-437F-A039-56CC41037663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76DEC39-9D0A-44FB-9A62-C28F18F749C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670AA069-8264-4C03-B5A9-69BC6E2AFA1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EB57F6E-1D9B-4351-8C01-E6CF70C574FE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4DC638D5-8901-4644-ABD5-35D803D1D606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0884EA3-8932-4332-B434-E341678CD491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5F088E95-F67A-4E2A-96CD-096E878B239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7BF7EA06-3AB5-4176-BCF5-EA49597E187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0303BAB0-F36E-4FFC-8AC9-E888B036E05B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BDCEEE51-8A01-450A-BBB6-2EE82FAD25C7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F7E0978-36BC-4FFC-BC62-78004EC6545F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6E88A2D-E06A-4B31-897A-F29D5BCA605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CABE59FC-4023-4E7D-8847-A16CB70E1FF1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CC430C89-D3C1-4F61-A6C8-16EF64470952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54358A37-A5A9-4A84-B2DD-B5FB8BE394EA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E11FDEA4-5CF8-46B6-B19D-5C4AE81BF77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D4429CDA-BCA9-4826-A6E2-7306FC4012FB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E4547F50-1583-4489-88DA-074C4B15BE5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6D963E37-01FA-483F-97B8-283894A51733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B26921C-9545-4AC1-A39D-97CC01AA7DE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C7F50F07-F94F-4240-B23B-19737864FC3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63E80846-CB79-4D2B-89D5-4FE39182BD6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37088A44-5D33-4105-8791-905E8F2ED16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309E6E7-66E4-43A5-AF5B-98CCB5A6D217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50032B6A-F2E9-4056-9271-31D8BF23E443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F62B9C11-1F77-44B5-899A-12FC9D4A323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A822719-F362-49F2-BF1A-E07F246EFBD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C13D135F-54DE-4187-AC61-D78180B82C45}"/>
              </a:ext>
            </a:extLst>
          </p:cNvPr>
          <p:cNvGrpSpPr/>
          <p:nvPr/>
        </p:nvGrpSpPr>
        <p:grpSpPr>
          <a:xfrm>
            <a:off x="10276582" y="4863343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C8596B4A-332B-4DF9-964B-58055561AB9D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7089744E-FA18-468B-AAB3-5708BA336F4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9E6EAE-84CC-44BE-8470-02AF07EFE40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6A9A00CF-96C1-4049-BA32-48C7F14190C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B205536-8343-4753-8C3C-6EBAD27CB02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FFE1934F-0BA2-4B7F-8C40-2B8A30E23D4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39D6ECF3-87B6-456E-A872-B472FC3E78EA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B070C7AC-0E68-48F9-B7A5-C39C9370F9ED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CE8DDDFF-8040-4BEA-AE98-38E72EAFA225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37BA6A8-B41B-44F7-80B9-DDC6DBBD46FF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E055EE7C-F064-42A2-8872-9B6A1FE5B1C4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ECCF488-A5E3-4BA6-9C2A-9D42966EC4C7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E42244A-7AA6-453D-B12B-F427F4D64F0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4FBC28B3-941C-4E3B-91C4-DAB4186DCBC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D4E23335-3D76-421A-A455-D3E75C21F314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831EDD80-EEF3-4CB2-B523-52A7633A6C38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15C6C3B7-66FB-4502-AA4A-4494C7079A3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8F610EBE-B34C-4B1C-A526-53B0B548B0C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740292B-3A54-44CB-8030-D451E034C52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D4893017-2A88-4489-BD53-8FA9D91043ED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BD55C28F-69B6-4462-B8D2-EF6487547A8B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1AC7914-4D7B-4804-BB25-98795DFBBE7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AA18B733-BFB7-4FD4-ABDE-08285BB754DD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340D1657-54A1-46F3-B1DC-998063F67812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C1669A70-1DAC-498F-AB5C-8E8050B209D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EF52E370-21DD-4B9E-971A-B72A552BC725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867B3439-6708-452C-8E7D-7ACC2C83F622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39A99387-5750-40CA-A2C3-6093B03200A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77CD4979-8E37-4A55-BAE6-4702AAA82F1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2B9F5C5-E9ED-40B1-A850-67D8CF81FB0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6DB136E8-23B5-485C-81F9-65B6E3556C2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AE5A1B14-04E3-461A-BCA8-4254D4D8400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05E07A7D-4B74-4882-AB43-BBBB303B9F6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E0EC56B-FD84-4BEA-B1F3-0B181EB8211E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35F804F5-26BA-436E-B40B-B30E284EC6EA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3E4AA924-361E-4477-93B5-5CBF68B0B88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8D5CCCF6-FB7D-4579-B0D9-891F9F500D4B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A9F21A39-8D85-4650-AD05-75689CDA9D7F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FCD21955-8A08-4D03-B59A-9C03F93E8CF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F1A9CEA-3ECE-48BC-9EB9-0642C7DC2977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04CE57BE-8602-41CB-8971-5D7E9BA4F21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723CD544-17A7-4A26-8C21-949FF32C455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016A52F-5E0B-46A6-9565-F264E4E4662C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C314357-2C06-4593-A9EE-822A1DE6D77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F184C3A3-073C-4EF4-ADD6-2254197028A5}"/>
              </a:ext>
            </a:extLst>
          </p:cNvPr>
          <p:cNvGrpSpPr/>
          <p:nvPr/>
        </p:nvGrpSpPr>
        <p:grpSpPr>
          <a:xfrm rot="16200000">
            <a:off x="-23244" y="5404397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2F1BCD85-0C1D-4C81-A1CF-64000091D4E6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FF2373DD-0104-4E61-B137-E791C61E9FB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45AC7EC-89B0-4DAF-ABE1-917D9391A4A7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5C8C5AE6-1949-4756-896F-650D73091547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7714A075-3639-4519-AA5E-BB8C66AD98C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C9935CF5-1B4B-4695-AFAC-6D9A16F0C7C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C41A35E7-7A97-4863-9502-5BCECCEF4228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11EB2960-154B-454B-877C-5F091670D25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0371AF70-5D28-4BBB-9493-087622E0386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D2F1F8DC-F58E-49D4-91E3-85F61E12F3E0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4E230B08-640F-4352-84BF-D632E137D54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E9D79321-D215-4181-B7B5-6E83D3F90EEA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91A2325B-90FB-4B3B-9B3E-5742ED7F6D05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9587DC87-5BDA-4D33-9B80-B4CE8E797ADA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A7E49CED-B878-4F1D-97FD-F0D5FBA13C9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E4EB0D13-92C9-4227-85E9-42968549A3A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456749B0-5674-45E1-B4DB-A3DB15FE37F0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1FF90E95-A4E9-4220-9A93-EC0677C0AAC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F1F06578-D017-4B76-ACFF-1DF22AD672DD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53111620-21A8-4D82-8F30-BABE40857A5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28BF1636-A4E1-407A-8D75-7C89541A4B0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D69FB0EC-49CB-470C-A688-D8EEF01C0C1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E78C7CF2-5B50-4FDE-945B-85F366423944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80F752F0-D6D2-4C81-B51E-B41D0A5F370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05721A32-45CF-4DAC-89CF-522A15558B8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B15AC74-A498-4469-BE65-01CB7A6F7BE3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1FE29D41-6A85-4140-9F2D-26A3154F9D3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31F04094-164F-48B5-8AF3-79C2D48092E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03C47591-C01F-4A21-A881-B3ADDBB5AF38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E0165459-0291-4E9A-B276-F5F43E9583E4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850E9DC-097E-46B7-A242-1810A996BBF2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FEF33DE2-183A-4301-958F-9E1AD301A00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9B6FCC23-E8EA-46D1-B589-AF25D9BFA639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6E72CABD-5337-4E73-A16D-F3C6D2B7AACC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136A3317-CB32-4574-B664-CE93E62402DA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2F1A3F06-65C6-4314-B364-C613F20BC0E3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405FD8D2-2A72-41DC-97A1-3BBC3BA58C01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8223FC2C-3E81-479D-BCA9-27A74861B47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33ECFB38-EC1C-436B-B1FF-4B3C85260109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EDC08F8F-07F7-4AA7-9F6E-4F3A4A77164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57609A66-32D2-4EF0-9DCE-A2537AB10743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03B13ECD-F2C1-43A7-927A-ECAF48CE60B9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3B1D26A5-414D-4F83-8062-FFF3667BEF3A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91A00627-C25C-45AE-A80B-92DC6298D9A3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68" name="Title 1">
            <a:extLst>
              <a:ext uri="{FF2B5EF4-FFF2-40B4-BE49-F238E27FC236}">
                <a16:creationId xmlns:a16="http://schemas.microsoft.com/office/drawing/2014/main" id="{4D3C7A37-3641-43A0-A784-C8ED99028A51}"/>
              </a:ext>
            </a:extLst>
          </p:cNvPr>
          <p:cNvSpPr txBox="1">
            <a:spLocks/>
          </p:cNvSpPr>
          <p:nvPr/>
        </p:nvSpPr>
        <p:spPr>
          <a:xfrm>
            <a:off x="8549647" y="5681906"/>
            <a:ext cx="3224901" cy="64633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2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roduction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E2FA0F4-6E75-4FA3-B69E-C5852F9B9BA3}"/>
              </a:ext>
            </a:extLst>
          </p:cNvPr>
          <p:cNvSpPr/>
          <p:nvPr/>
        </p:nvSpPr>
        <p:spPr>
          <a:xfrm rot="10800000">
            <a:off x="10644030" y="5623665"/>
            <a:ext cx="1041400" cy="1389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E7AE886-183E-4033-907A-7894511E0920}"/>
              </a:ext>
            </a:extLst>
          </p:cNvPr>
          <p:cNvSpPr/>
          <p:nvPr/>
        </p:nvSpPr>
        <p:spPr>
          <a:xfrm>
            <a:off x="1463705" y="4863344"/>
            <a:ext cx="9144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6E9D28-D97D-43BB-8F21-6CFCB6D5975A}"/>
              </a:ext>
            </a:extLst>
          </p:cNvPr>
          <p:cNvSpPr/>
          <p:nvPr/>
        </p:nvSpPr>
        <p:spPr>
          <a:xfrm>
            <a:off x="-806806" y="1065757"/>
            <a:ext cx="14377112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1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An online shop is a medium where everyone buys and sells products laying on there couch.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9F151F12-43F2-4B6D-81AF-707BA0630DCA}"/>
              </a:ext>
            </a:extLst>
          </p:cNvPr>
          <p:cNvSpPr/>
          <p:nvPr/>
        </p:nvSpPr>
        <p:spPr>
          <a:xfrm>
            <a:off x="-136896" y="4839668"/>
            <a:ext cx="1244674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is system has been created to reduce problems that can happen in a physical shop.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C7B1228E-DBF6-4AFC-8553-A799FE794E87}"/>
              </a:ext>
            </a:extLst>
          </p:cNvPr>
          <p:cNvSpPr/>
          <p:nvPr/>
        </p:nvSpPr>
        <p:spPr>
          <a:xfrm>
            <a:off x="342542" y="4172583"/>
            <a:ext cx="879907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7. So we have created an online multi shop with C program.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23443DAC-8EF4-4F0F-8C81-9C263C8C6133}"/>
              </a:ext>
            </a:extLst>
          </p:cNvPr>
          <p:cNvSpPr/>
          <p:nvPr/>
        </p:nvSpPr>
        <p:spPr>
          <a:xfrm>
            <a:off x="342542" y="3619142"/>
            <a:ext cx="661020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6. So that he can get the product very easily.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1DF5AB24-4F27-4ABC-918E-98068833852B}"/>
              </a:ext>
            </a:extLst>
          </p:cNvPr>
          <p:cNvSpPr/>
          <p:nvPr/>
        </p:nvSpPr>
        <p:spPr>
          <a:xfrm>
            <a:off x="342542" y="2038512"/>
            <a:ext cx="931492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. In online shop system people can buy their desired products.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7644FAE-60D4-4A3F-A40F-6D348A038D48}"/>
              </a:ext>
            </a:extLst>
          </p:cNvPr>
          <p:cNvSpPr/>
          <p:nvPr/>
        </p:nvSpPr>
        <p:spPr>
          <a:xfrm>
            <a:off x="383687" y="1506665"/>
            <a:ext cx="775096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This is a virtual representation of a physical shop. 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4FC17D96-33D7-4067-B50D-680A1EC9BA62}"/>
              </a:ext>
            </a:extLst>
          </p:cNvPr>
          <p:cNvSpPr/>
          <p:nvPr/>
        </p:nvSpPr>
        <p:spPr>
          <a:xfrm>
            <a:off x="315256" y="2511589"/>
            <a:ext cx="1178745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4. Even shopkeepers has chosen this medium to show their product to everyone.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6735FBE-E1EB-4DD9-8602-755E4ED71798}"/>
              </a:ext>
            </a:extLst>
          </p:cNvPr>
          <p:cNvSpPr/>
          <p:nvPr/>
        </p:nvSpPr>
        <p:spPr>
          <a:xfrm>
            <a:off x="342542" y="3030015"/>
            <a:ext cx="838178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5. With this service, every person can buy his necessities.</a:t>
            </a:r>
          </a:p>
        </p:txBody>
      </p:sp>
    </p:spTree>
    <p:extLst>
      <p:ext uri="{BB962C8B-B14F-4D97-AF65-F5344CB8AC3E}">
        <p14:creationId xmlns:p14="http://schemas.microsoft.com/office/powerpoint/2010/main" val="261218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42F45E7-7E3D-4589-9049-07B218C059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Strokes/>
                    </a14:imgEffect>
                    <a14:imgEffect>
                      <a14:saturation sat="0"/>
                    </a14:imgEffect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234" b="1023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6C990B1-4642-4784-8516-7A2BDEC39513}"/>
              </a:ext>
            </a:extLst>
          </p:cNvPr>
          <p:cNvSpPr/>
          <p:nvPr/>
        </p:nvSpPr>
        <p:spPr>
          <a:xfrm>
            <a:off x="0" y="-48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49000">
                <a:schemeClr val="tx1">
                  <a:alpha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59B658-F1DD-4235-A315-5FA31630973F}"/>
              </a:ext>
            </a:extLst>
          </p:cNvPr>
          <p:cNvSpPr/>
          <p:nvPr/>
        </p:nvSpPr>
        <p:spPr>
          <a:xfrm>
            <a:off x="8648700" y="5524500"/>
            <a:ext cx="3543300" cy="1047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1DEF-32DD-40D0-B63D-396863A5080A}"/>
              </a:ext>
            </a:extLst>
          </p:cNvPr>
          <p:cNvSpPr/>
          <p:nvPr/>
        </p:nvSpPr>
        <p:spPr>
          <a:xfrm>
            <a:off x="360148" y="435878"/>
            <a:ext cx="4380355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5DE0E6C-D4E2-46CE-95B9-CFEF563B5642}"/>
              </a:ext>
            </a:extLst>
          </p:cNvPr>
          <p:cNvSpPr/>
          <p:nvPr/>
        </p:nvSpPr>
        <p:spPr>
          <a:xfrm rot="11235201">
            <a:off x="10258341" y="4978350"/>
            <a:ext cx="3829958" cy="3829958"/>
          </a:xfrm>
          <a:custGeom>
            <a:avLst/>
            <a:gdLst>
              <a:gd name="connsiteX0" fmla="*/ 1914979 w 3829958"/>
              <a:gd name="connsiteY0" fmla="*/ 0 h 3829958"/>
              <a:gd name="connsiteX1" fmla="*/ 3829958 w 3829958"/>
              <a:gd name="connsiteY1" fmla="*/ 1914979 h 3829958"/>
              <a:gd name="connsiteX2" fmla="*/ 3743864 w 3829958"/>
              <a:gd name="connsiteY2" fmla="*/ 2484435 h 3829958"/>
              <a:gd name="connsiteX3" fmla="*/ 3736535 w 3829958"/>
              <a:gd name="connsiteY3" fmla="*/ 2504461 h 3829958"/>
              <a:gd name="connsiteX4" fmla="*/ 3691901 w 3829958"/>
              <a:gd name="connsiteY4" fmla="*/ 2490606 h 3829958"/>
              <a:gd name="connsiteX5" fmla="*/ 3555553 w 3829958"/>
              <a:gd name="connsiteY5" fmla="*/ 2476861 h 3829958"/>
              <a:gd name="connsiteX6" fmla="*/ 2879005 w 3829958"/>
              <a:gd name="connsiteY6" fmla="*/ 3153409 h 3829958"/>
              <a:gd name="connsiteX7" fmla="*/ 2932172 w 3829958"/>
              <a:gd name="connsiteY7" fmla="*/ 3416752 h 3829958"/>
              <a:gd name="connsiteX8" fmla="*/ 2980604 w 3829958"/>
              <a:gd name="connsiteY8" fmla="*/ 3505983 h 3829958"/>
              <a:gd name="connsiteX9" fmla="*/ 2827772 w 3829958"/>
              <a:gd name="connsiteY9" fmla="*/ 3598830 h 3829958"/>
              <a:gd name="connsiteX10" fmla="*/ 1914979 w 3829958"/>
              <a:gd name="connsiteY10" fmla="*/ 3829958 h 3829958"/>
              <a:gd name="connsiteX11" fmla="*/ 0 w 3829958"/>
              <a:gd name="connsiteY11" fmla="*/ 1914979 h 3829958"/>
              <a:gd name="connsiteX12" fmla="*/ 1914979 w 3829958"/>
              <a:gd name="connsiteY12" fmla="*/ 0 h 382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829958" h="3829958">
                <a:moveTo>
                  <a:pt x="1914979" y="0"/>
                </a:moveTo>
                <a:cubicBezTo>
                  <a:pt x="2972593" y="0"/>
                  <a:pt x="3829958" y="857365"/>
                  <a:pt x="3829958" y="1914979"/>
                </a:cubicBezTo>
                <a:cubicBezTo>
                  <a:pt x="3829958" y="2113282"/>
                  <a:pt x="3799816" y="2304544"/>
                  <a:pt x="3743864" y="2484435"/>
                </a:cubicBezTo>
                <a:lnTo>
                  <a:pt x="3736535" y="2504461"/>
                </a:lnTo>
                <a:lnTo>
                  <a:pt x="3691901" y="2490606"/>
                </a:lnTo>
                <a:cubicBezTo>
                  <a:pt x="3647859" y="2481594"/>
                  <a:pt x="3602259" y="2476861"/>
                  <a:pt x="3555553" y="2476861"/>
                </a:cubicBezTo>
                <a:cubicBezTo>
                  <a:pt x="3181906" y="2476861"/>
                  <a:pt x="2879005" y="2779762"/>
                  <a:pt x="2879005" y="3153409"/>
                </a:cubicBezTo>
                <a:cubicBezTo>
                  <a:pt x="2879005" y="3246821"/>
                  <a:pt x="2897936" y="3335811"/>
                  <a:pt x="2932172" y="3416752"/>
                </a:cubicBezTo>
                <a:lnTo>
                  <a:pt x="2980604" y="3505983"/>
                </a:lnTo>
                <a:lnTo>
                  <a:pt x="2827772" y="3598830"/>
                </a:lnTo>
                <a:cubicBezTo>
                  <a:pt x="2556432" y="3746231"/>
                  <a:pt x="2245483" y="3829958"/>
                  <a:pt x="1914979" y="3829958"/>
                </a:cubicBezTo>
                <a:cubicBezTo>
                  <a:pt x="857365" y="3829958"/>
                  <a:pt x="0" y="2972593"/>
                  <a:pt x="0" y="1914979"/>
                </a:cubicBezTo>
                <a:cubicBezTo>
                  <a:pt x="0" y="857365"/>
                  <a:pt x="857365" y="0"/>
                  <a:pt x="1914979" y="0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693BA1-2B08-47EB-AEAD-0DFA8395B271}"/>
              </a:ext>
            </a:extLst>
          </p:cNvPr>
          <p:cNvSpPr/>
          <p:nvPr/>
        </p:nvSpPr>
        <p:spPr>
          <a:xfrm>
            <a:off x="9761211" y="4619310"/>
            <a:ext cx="4634248" cy="4634248"/>
          </a:xfrm>
          <a:prstGeom prst="ellipse">
            <a:avLst/>
          </a:prstGeom>
          <a:noFill/>
          <a:ln w="19050">
            <a:solidFill>
              <a:schemeClr val="accent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B622297-A54D-4617-9EBC-CF6D576C5224}"/>
              </a:ext>
            </a:extLst>
          </p:cNvPr>
          <p:cNvSpPr/>
          <p:nvPr/>
        </p:nvSpPr>
        <p:spPr>
          <a:xfrm>
            <a:off x="10337008" y="5038928"/>
            <a:ext cx="924183" cy="9241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698AE66-5967-4786-9D8F-1A725F6FC702}"/>
              </a:ext>
            </a:extLst>
          </p:cNvPr>
          <p:cNvGrpSpPr/>
          <p:nvPr/>
        </p:nvGrpSpPr>
        <p:grpSpPr>
          <a:xfrm>
            <a:off x="10420350" y="285750"/>
            <a:ext cx="804758" cy="144689"/>
            <a:chOff x="4455886" y="479425"/>
            <a:chExt cx="804758" cy="14468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F1A76E1-D6D8-4852-85B9-7FDD5ABBF3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47E7E72-EC7D-477B-8049-BBFC86FEFF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BAB7941-03C6-4F12-9E04-9077539D85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949FD28-7095-45B9-A159-1411E0D082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94CE044-D8F7-478D-AC0F-4B7B7EC814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DFADAC-57F4-4EB2-9CF7-1020DEA1EB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0A8832C-24F7-4903-86A4-6AE9F1C8E555}"/>
              </a:ext>
            </a:extLst>
          </p:cNvPr>
          <p:cNvCxnSpPr>
            <a:cxnSpLocks/>
          </p:cNvCxnSpPr>
          <p:nvPr/>
        </p:nvCxnSpPr>
        <p:spPr>
          <a:xfrm flipH="1">
            <a:off x="11201400" y="358094"/>
            <a:ext cx="98107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C96E1AB-AAFA-4C31-A014-04B75B16B1D9}"/>
              </a:ext>
            </a:extLst>
          </p:cNvPr>
          <p:cNvCxnSpPr>
            <a:cxnSpLocks/>
          </p:cNvCxnSpPr>
          <p:nvPr/>
        </p:nvCxnSpPr>
        <p:spPr>
          <a:xfrm>
            <a:off x="895816" y="2627086"/>
            <a:ext cx="0" cy="4211864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D8E0974-BC24-4BA5-97A3-EC9ED8F4A343}"/>
              </a:ext>
            </a:extLst>
          </p:cNvPr>
          <p:cNvCxnSpPr>
            <a:cxnSpLocks/>
          </p:cNvCxnSpPr>
          <p:nvPr/>
        </p:nvCxnSpPr>
        <p:spPr>
          <a:xfrm>
            <a:off x="529166" y="4838700"/>
            <a:ext cx="0" cy="200025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C026667-799F-4EB6-B96F-4D9051F3C6F9}"/>
              </a:ext>
            </a:extLst>
          </p:cNvPr>
          <p:cNvCxnSpPr>
            <a:cxnSpLocks/>
          </p:cNvCxnSpPr>
          <p:nvPr/>
        </p:nvCxnSpPr>
        <p:spPr>
          <a:xfrm>
            <a:off x="232283" y="6248400"/>
            <a:ext cx="0" cy="59055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476F0D7-F33E-4A33-9A25-D15E7B57E91D}"/>
              </a:ext>
            </a:extLst>
          </p:cNvPr>
          <p:cNvGrpSpPr/>
          <p:nvPr/>
        </p:nvGrpSpPr>
        <p:grpSpPr>
          <a:xfrm>
            <a:off x="376401" y="1139576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5D90828-5100-410A-8A8E-4687D38638FA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81DCCFD7-E0A5-47AD-986F-4F362EFA64B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CFB457A8-22BF-445D-8BE4-A5F0B8F28315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F9CE3CC5-6A7F-4EDF-98E8-87C0423E576A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BC7124F4-4C3D-4E37-BAE9-9EDED01A0EA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D535BD03-2F0C-4000-88DC-929BE058361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E3252F64-CB94-446A-9777-533DA0DFB361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EBA391DC-019F-4A84-880F-EE19B975D24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B1664578-5E45-4F3B-87FF-5CACEC9B8DFA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E03CCC18-FFEA-4FB8-9EFD-6C14B821CC83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9A5247D-C922-46D3-8D5E-C5BA40B504A7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2163A3C6-F6A5-4A7C-9540-CE170FFD1C11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38A5E62-0408-4617-838D-0C50A772158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6D471D9B-B1A8-4A13-B904-D1F99AE2A05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59015498-9B56-4E63-A85E-C9F3BC12C5F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072DCEF1-0785-4B65-AE1F-56F85C2FF31B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FF75C609-B566-4B1B-9ADD-14310F3129D9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3EB0BFA9-3F87-437F-A039-56CC41037663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76DEC39-9D0A-44FB-9A62-C28F18F749C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670AA069-8264-4C03-B5A9-69BC6E2AFA1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EB57F6E-1D9B-4351-8C01-E6CF70C574FE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4DC638D5-8901-4644-ABD5-35D803D1D606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0884EA3-8932-4332-B434-E341678CD491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5F088E95-F67A-4E2A-96CD-096E878B239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7BF7EA06-3AB5-4176-BCF5-EA49597E187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0303BAB0-F36E-4FFC-8AC9-E888B036E05B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BDCEEE51-8A01-450A-BBB6-2EE82FAD25C7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F7E0978-36BC-4FFC-BC62-78004EC6545F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6E88A2D-E06A-4B31-897A-F29D5BCA605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CABE59FC-4023-4E7D-8847-A16CB70E1FF1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CC430C89-D3C1-4F61-A6C8-16EF64470952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54358A37-A5A9-4A84-B2DD-B5FB8BE394EA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E11FDEA4-5CF8-46B6-B19D-5C4AE81BF77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D4429CDA-BCA9-4826-A6E2-7306FC4012FB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E4547F50-1583-4489-88DA-074C4B15BE5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6D963E37-01FA-483F-97B8-283894A51733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B26921C-9545-4AC1-A39D-97CC01AA7DE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C7F50F07-F94F-4240-B23B-19737864FC3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63E80846-CB79-4D2B-89D5-4FE39182BD6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37088A44-5D33-4105-8791-905E8F2ED16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309E6E7-66E4-43A5-AF5B-98CCB5A6D217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50032B6A-F2E9-4056-9271-31D8BF23E443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F62B9C11-1F77-44B5-899A-12FC9D4A323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A822719-F362-49F2-BF1A-E07F246EFBD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C13D135F-54DE-4187-AC61-D78180B82C45}"/>
              </a:ext>
            </a:extLst>
          </p:cNvPr>
          <p:cNvGrpSpPr/>
          <p:nvPr/>
        </p:nvGrpSpPr>
        <p:grpSpPr>
          <a:xfrm>
            <a:off x="8720106" y="5860807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C8596B4A-332B-4DF9-964B-58055561AB9D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7089744E-FA18-468B-AAB3-5708BA336F44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9E6EAE-84CC-44BE-8470-02AF07EFE40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6A9A00CF-96C1-4049-BA32-48C7F14190C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B205536-8343-4753-8C3C-6EBAD27CB02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FFE1934F-0BA2-4B7F-8C40-2B8A30E23D4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39D6ECF3-87B6-456E-A872-B472FC3E78EA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B070C7AC-0E68-48F9-B7A5-C39C9370F9ED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CE8DDDFF-8040-4BEA-AE98-38E72EAFA225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37BA6A8-B41B-44F7-80B9-DDC6DBBD46FF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E055EE7C-F064-42A2-8872-9B6A1FE5B1C4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ECCF488-A5E3-4BA6-9C2A-9D42966EC4C7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E42244A-7AA6-453D-B12B-F427F4D64F0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4FBC28B3-941C-4E3B-91C4-DAB4186DCBC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D4E23335-3D76-421A-A455-D3E75C21F314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831EDD80-EEF3-4CB2-B523-52A7633A6C38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15C6C3B7-66FB-4502-AA4A-4494C7079A3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8F610EBE-B34C-4B1C-A526-53B0B548B0C4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740292B-3A54-44CB-8030-D451E034C52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D4893017-2A88-4489-BD53-8FA9D91043ED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BD55C28F-69B6-4462-B8D2-EF6487547A8B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1AC7914-4D7B-4804-BB25-98795DFBBE7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AA18B733-BFB7-4FD4-ABDE-08285BB754DD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340D1657-54A1-46F3-B1DC-998063F67812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C1669A70-1DAC-498F-AB5C-8E8050B209D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EF52E370-21DD-4B9E-971A-B72A552BC725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867B3439-6708-452C-8E7D-7ACC2C83F622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39A99387-5750-40CA-A2C3-6093B03200A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77CD4979-8E37-4A55-BAE6-4702AAA82F1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2B9F5C5-E9ED-40B1-A850-67D8CF81FB0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6DB136E8-23B5-485C-81F9-65B6E3556C2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AE5A1B14-04E3-461A-BCA8-4254D4D8400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05E07A7D-4B74-4882-AB43-BBBB303B9F6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E0EC56B-FD84-4BEA-B1F3-0B181EB8211E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35F804F5-26BA-436E-B40B-B30E284EC6EA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3E4AA924-361E-4477-93B5-5CBF68B0B88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8D5CCCF6-FB7D-4579-B0D9-891F9F500D4B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A9F21A39-8D85-4650-AD05-75689CDA9D7F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FCD21955-8A08-4D03-B59A-9C03F93E8CF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F1A9CEA-3ECE-48BC-9EB9-0642C7DC2977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04CE57BE-8602-41CB-8971-5D7E9BA4F21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723CD544-17A7-4A26-8C21-949FF32C455C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016A52F-5E0B-46A6-9565-F264E4E4662C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C314357-2C06-4593-A9EE-822A1DE6D77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F184C3A3-073C-4EF4-ADD6-2254197028A5}"/>
              </a:ext>
            </a:extLst>
          </p:cNvPr>
          <p:cNvGrpSpPr/>
          <p:nvPr/>
        </p:nvGrpSpPr>
        <p:grpSpPr>
          <a:xfrm rot="16200000">
            <a:off x="-23244" y="5404397"/>
            <a:ext cx="1729654" cy="848268"/>
            <a:chOff x="233739" y="283295"/>
            <a:chExt cx="1729654" cy="848268"/>
          </a:xfrm>
          <a:gradFill>
            <a:gsLst>
              <a:gs pos="0">
                <a:schemeClr val="accent3"/>
              </a:gs>
              <a:gs pos="10000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2F1BCD85-0C1D-4C81-A1CF-64000091D4E6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FF2373DD-0104-4E61-B137-E791C61E9FB7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45AC7EC-89B0-4DAF-ABE1-917D9391A4A7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5C8C5AE6-1949-4756-896F-650D73091547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7714A075-3639-4519-AA5E-BB8C66AD98C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C9935CF5-1B4B-4695-AFAC-6D9A16F0C7C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C41A35E7-7A97-4863-9502-5BCECCEF4228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11EB2960-154B-454B-877C-5F091670D25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0371AF70-5D28-4BBB-9493-087622E0386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D2F1F8DC-F58E-49D4-91E3-85F61E12F3E0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4E230B08-640F-4352-84BF-D632E137D54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E9D79321-D215-4181-B7B5-6E83D3F90EEA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91A2325B-90FB-4B3B-9B3E-5742ED7F6D05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9587DC87-5BDA-4D33-9B80-B4CE8E797ADA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A7E49CED-B878-4F1D-97FD-F0D5FBA13C9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E4EB0D13-92C9-4227-85E9-42968549A3AD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456749B0-5674-45E1-B4DB-A3DB15FE37F0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1FF90E95-A4E9-4220-9A93-EC0677C0AAC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F1F06578-D017-4B76-ACFF-1DF22AD672DD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53111620-21A8-4D82-8F30-BABE40857A58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28BF1636-A4E1-407A-8D75-7C89541A4B0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D69FB0EC-49CB-470C-A688-D8EEF01C0C1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E78C7CF2-5B50-4FDE-945B-85F366423944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80F752F0-D6D2-4C81-B51E-B41D0A5F370D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05721A32-45CF-4DAC-89CF-522A15558B8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B15AC74-A498-4469-BE65-01CB7A6F7BE3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1FE29D41-6A85-4140-9F2D-26A3154F9D3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31F04094-164F-48B5-8AF3-79C2D48092E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03C47591-C01F-4A21-A881-B3ADDBB5AF38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E0165459-0291-4E9A-B276-F5F43E9583E4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850E9DC-097E-46B7-A242-1810A996BBF2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FEF33DE2-183A-4301-958F-9E1AD301A00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9B6FCC23-E8EA-46D1-B589-AF25D9BFA639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6E72CABD-5337-4E73-A16D-F3C6D2B7AACC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136A3317-CB32-4574-B664-CE93E62402DA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2F1A3F06-65C6-4314-B364-C613F20BC0E3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405FD8D2-2A72-41DC-97A1-3BBC3BA58C01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8223FC2C-3E81-479D-BCA9-27A74861B47C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33ECFB38-EC1C-436B-B1FF-4B3C85260109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EDC08F8F-07F7-4AA7-9F6E-4F3A4A77164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57609A66-32D2-4EF0-9DCE-A2537AB10743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03B13ECD-F2C1-43A7-927A-ECAF48CE60B9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3B1D26A5-414D-4F83-8062-FFF3667BEF3A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91A00627-C25C-45AE-A80B-92DC6298D9A3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68" name="Title 1">
            <a:extLst>
              <a:ext uri="{FF2B5EF4-FFF2-40B4-BE49-F238E27FC236}">
                <a16:creationId xmlns:a16="http://schemas.microsoft.com/office/drawing/2014/main" id="{4D3C7A37-3641-43A0-A784-C8ED99028A51}"/>
              </a:ext>
            </a:extLst>
          </p:cNvPr>
          <p:cNvSpPr txBox="1">
            <a:spLocks/>
          </p:cNvSpPr>
          <p:nvPr/>
        </p:nvSpPr>
        <p:spPr>
          <a:xfrm>
            <a:off x="501432" y="489610"/>
            <a:ext cx="4844806" cy="5539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blem Definition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E2FA0F4-6E75-4FA3-B69E-C5852F9B9BA3}"/>
              </a:ext>
            </a:extLst>
          </p:cNvPr>
          <p:cNvSpPr/>
          <p:nvPr/>
        </p:nvSpPr>
        <p:spPr>
          <a:xfrm rot="10800000">
            <a:off x="3026557" y="348470"/>
            <a:ext cx="1461753" cy="1124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CEF7CA-3025-4C4D-A023-21D23B5F3208}"/>
              </a:ext>
            </a:extLst>
          </p:cNvPr>
          <p:cNvSpPr/>
          <p:nvPr/>
        </p:nvSpPr>
        <p:spPr>
          <a:xfrm>
            <a:off x="1116890" y="1241437"/>
            <a:ext cx="9729843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. Nowadays it is very unbearable to go to the shops and market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224C97C-5E9C-4497-86E6-9125077022AE}"/>
              </a:ext>
            </a:extLst>
          </p:cNvPr>
          <p:cNvSpPr/>
          <p:nvPr/>
        </p:nvSpPr>
        <p:spPr>
          <a:xfrm>
            <a:off x="1116890" y="1790152"/>
            <a:ext cx="1023119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. A crowd of people inside these made the environment destructive .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F0B4E055-CFE3-4D69-9ABA-23BAD6824962}"/>
              </a:ext>
            </a:extLst>
          </p:cNvPr>
          <p:cNvSpPr/>
          <p:nvPr/>
        </p:nvSpPr>
        <p:spPr>
          <a:xfrm>
            <a:off x="1097923" y="2347336"/>
            <a:ext cx="1051973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. It is a very time killing process too to buy a product from that crowd.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9DC98A86-1FFF-4735-8C18-4E40A3181140}"/>
              </a:ext>
            </a:extLst>
          </p:cNvPr>
          <p:cNvSpPr/>
          <p:nvPr/>
        </p:nvSpPr>
        <p:spPr>
          <a:xfrm>
            <a:off x="1093428" y="4025997"/>
            <a:ext cx="8492261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6. People can now buy a product within some finger taps.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80E8EAB1-9F91-43E1-B7DA-071D87E48546}"/>
              </a:ext>
            </a:extLst>
          </p:cNvPr>
          <p:cNvSpPr/>
          <p:nvPr/>
        </p:nvSpPr>
        <p:spPr>
          <a:xfrm>
            <a:off x="523561" y="5056047"/>
            <a:ext cx="11449364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8. On the other hand during pandemic, we can’t go out to buy products Freely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0B3791ED-EF49-40F3-8F4B-B804EE80BEE5}"/>
              </a:ext>
            </a:extLst>
          </p:cNvPr>
          <p:cNvSpPr/>
          <p:nvPr/>
        </p:nvSpPr>
        <p:spPr>
          <a:xfrm>
            <a:off x="1121737" y="3485068"/>
            <a:ext cx="843564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5. So, online shops are created to reduce this difficulties. 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B5EAA37-3BD3-46CD-8F61-4C1A3FDA5327}"/>
              </a:ext>
            </a:extLst>
          </p:cNvPr>
          <p:cNvSpPr/>
          <p:nvPr/>
        </p:nvSpPr>
        <p:spPr>
          <a:xfrm>
            <a:off x="1048506" y="4611216"/>
            <a:ext cx="1024767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7. Online shops are also giving the best deals available on the market.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970A2B03-D38F-4AEB-9DC6-F398C3F052BC}"/>
              </a:ext>
            </a:extLst>
          </p:cNvPr>
          <p:cNvSpPr/>
          <p:nvPr/>
        </p:nvSpPr>
        <p:spPr>
          <a:xfrm>
            <a:off x="1104541" y="2909488"/>
            <a:ext cx="1108745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4. On the other hand people can’t get a good deal on their desired produc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B35F90-530D-40D7-8308-02F2BCF07D1D}"/>
              </a:ext>
            </a:extLst>
          </p:cNvPr>
          <p:cNvSpPr/>
          <p:nvPr/>
        </p:nvSpPr>
        <p:spPr>
          <a:xfrm>
            <a:off x="1675835" y="6027456"/>
            <a:ext cx="8038547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So, online shops play a vital role solving that problem.</a:t>
            </a:r>
          </a:p>
        </p:txBody>
      </p:sp>
    </p:spTree>
    <p:extLst>
      <p:ext uri="{BB962C8B-B14F-4D97-AF65-F5344CB8AC3E}">
        <p14:creationId xmlns:p14="http://schemas.microsoft.com/office/powerpoint/2010/main" val="3524161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5D9B25B-0E8C-41AC-94F8-8AF8FBBD8F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4109078-FCDA-44A8-8A66-4327AA30E454}"/>
              </a:ext>
            </a:extLst>
          </p:cNvPr>
          <p:cNvSpPr/>
          <p:nvPr/>
        </p:nvSpPr>
        <p:spPr>
          <a:xfrm>
            <a:off x="-5446" y="0"/>
            <a:ext cx="12192000" cy="6858000"/>
          </a:xfrm>
          <a:prstGeom prst="rect">
            <a:avLst/>
          </a:prstGeom>
          <a:gradFill flip="none" rotWithShape="1">
            <a:gsLst>
              <a:gs pos="28000">
                <a:schemeClr val="tx1">
                  <a:alpha val="95000"/>
                </a:schemeClr>
              </a:gs>
              <a:gs pos="100000">
                <a:schemeClr val="tx1">
                  <a:alpha val="95000"/>
                </a:schemeClr>
              </a:gs>
              <a:gs pos="57000">
                <a:schemeClr val="tx1">
                  <a:alpha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2D1CE81-09C4-4F2E-B70E-017BDD44554D}"/>
              </a:ext>
            </a:extLst>
          </p:cNvPr>
          <p:cNvGrpSpPr/>
          <p:nvPr/>
        </p:nvGrpSpPr>
        <p:grpSpPr>
          <a:xfrm>
            <a:off x="10311173" y="5205003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F08EE0F5-B993-4223-A8B7-4D509CE56153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76BF4C9F-E80B-4087-B884-AF85FF1C7011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399EEE77-458E-4BC1-8DB5-752163152A4E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4E4FF6FE-A198-45EF-A1E0-8A986FF77713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464D79C8-7C36-4236-8FBA-D5049A88E4F8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42E25FA1-AB9F-495E-A790-BF354F904E00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7399DD22-1F60-477F-B9ED-65BB792EABEB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09DE759D-A32C-4D7E-B34E-8E00B640787E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913C6E2D-8F40-496A-A460-8FF3AC3FD18B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B3F6F24-FF5F-46CE-9FA6-33CC7D1CE058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92960832-EC64-4DFC-9EA9-878FEF9830C2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4EA34DC-02AF-4A1B-BB5B-06B40DD41EF2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992282F3-4D6A-48D2-B567-1AD87673EF09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370B712B-3CBB-42F8-A660-8531F3803834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7D1F15BE-D489-43F4-8C7D-ABB23A775478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3D0616F7-6C0A-479D-9FFF-8385B18E754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FFFDE17D-B7AC-4549-9292-27E5C25114C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147CA50-14AD-4D8E-B80B-E946BDD4688B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FD4A5C0E-7396-4406-B9EF-C314824BE241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CE2CB2F9-3AF2-48FA-A0B7-B68E7C98280F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0A6A90F-BDAA-4993-9D88-2BBE84EFA1A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F8046836-0284-4A2F-85D6-7DBBC24B402F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D977887C-56A5-4129-9657-7B468F81CAF9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69DAF664-8DF1-4FAD-8E54-0DA9128827DF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DDD81D61-6BFB-40D4-B82A-41496C2C5AA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7154734A-04E5-4B89-80DB-A4C1958CD84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869319B0-07D0-4949-B912-E3F0E347C59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F994746B-C7F0-4B4D-994B-F50444A98A61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EBD7C69E-DFCC-477C-B905-945885FBA30F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2166C815-ACC5-40B9-B101-D8F494621B35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8469E53D-A50F-4B60-9F03-5F5FB6083BB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9D1943AF-75BA-4E12-ADB6-BA20E042FFB3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8D741D2D-6FA2-4D46-9DB8-33064AABD78D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5C44329-F8DB-4A06-93D3-7234D36935F3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147A1DEF-EE03-40B4-9CA6-D6D65908A3E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4F75BC42-8C00-479C-980F-D89D17698DAC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4FBFCEA7-A90E-40BD-93F3-293C90EBB231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E126E582-4CFF-4C82-8054-E1C92689685A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7FD787DE-79BE-4ADD-A156-BD9B58D5F0D6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194C2FB-0AD0-419A-B2FE-2BCB221F863D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C41DE5E-286B-4B38-9B40-D7A1B2CEA537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3B0AF76A-D5C1-427B-8A67-829BA1CCA1E1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F22FE62D-F607-4780-B721-55DBB2ADF36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93772937-E602-4F79-896D-2BAB708F103E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F37D5A3-2955-4503-81F6-9EBA1CE6B487}"/>
              </a:ext>
            </a:extLst>
          </p:cNvPr>
          <p:cNvSpPr/>
          <p:nvPr/>
        </p:nvSpPr>
        <p:spPr>
          <a:xfrm>
            <a:off x="7309757" y="5944053"/>
            <a:ext cx="4882243" cy="613682"/>
          </a:xfrm>
          <a:prstGeom prst="roundRect">
            <a:avLst>
              <a:gd name="adj" fmla="val 5966"/>
            </a:avLst>
          </a:prstGeom>
          <a:pattFill prst="dkUpDiag">
            <a:fgClr>
              <a:schemeClr val="accent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FB99EBF-2C6C-4CD4-99B1-88713C45DE97}"/>
              </a:ext>
            </a:extLst>
          </p:cNvPr>
          <p:cNvGrpSpPr/>
          <p:nvPr/>
        </p:nvGrpSpPr>
        <p:grpSpPr>
          <a:xfrm>
            <a:off x="7628890" y="6163355"/>
            <a:ext cx="2595458" cy="144689"/>
            <a:chOff x="9063142" y="6163355"/>
            <a:chExt cx="2595458" cy="14468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2A4266-DD26-42F9-853B-F4E1C63E5CBE}"/>
                </a:ext>
              </a:extLst>
            </p:cNvPr>
            <p:cNvGrpSpPr/>
            <p:nvPr/>
          </p:nvGrpSpPr>
          <p:grpSpPr>
            <a:xfrm>
              <a:off x="10853842" y="6163355"/>
              <a:ext cx="804758" cy="144689"/>
              <a:chOff x="4455886" y="479425"/>
              <a:chExt cx="804758" cy="144689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A46A6FA-5497-4D58-90B9-F3225C40D6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5588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32613525-20C9-4565-BEA2-FA953C3A98A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0384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C78DD769-5AD2-4D03-9E28-3D53FA0AA2C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5179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1C3B72BF-54C3-4EF0-82D2-38EE8D6BE15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9975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921F0CB7-45CB-4A68-A263-DEEC342434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4770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C721007D-4E29-4484-850D-1BE9203421E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19566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3931F45-C6B6-46A5-8287-D706A6384E82}"/>
                </a:ext>
              </a:extLst>
            </p:cNvPr>
            <p:cNvGrpSpPr/>
            <p:nvPr/>
          </p:nvGrpSpPr>
          <p:grpSpPr>
            <a:xfrm>
              <a:off x="9962302" y="6163355"/>
              <a:ext cx="804758" cy="144689"/>
              <a:chOff x="4455886" y="479425"/>
              <a:chExt cx="804758" cy="14468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44E26DDA-6803-4385-9F31-6ED9C157F0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5588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9D0DC2B-B52E-4015-B5E9-F6EDD60EDEA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0384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A4571B84-9BAB-4513-8A69-E6EA5CD9C9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5179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C8E11DEC-14BF-4286-A9BC-CD5D5344D0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9975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69922D6A-72FB-4975-B808-A83B3176DCC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4770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E7B82E3-A577-4272-A82B-852C8F4FFB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19566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66E419D-21DB-484D-960A-0E69750668F1}"/>
                </a:ext>
              </a:extLst>
            </p:cNvPr>
            <p:cNvGrpSpPr/>
            <p:nvPr/>
          </p:nvGrpSpPr>
          <p:grpSpPr>
            <a:xfrm>
              <a:off x="9063142" y="6163355"/>
              <a:ext cx="804758" cy="144689"/>
              <a:chOff x="4455886" y="479425"/>
              <a:chExt cx="804758" cy="144689"/>
            </a:xfrm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227C8DCA-903F-4C67-B2E5-BBFB07BE0B5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5588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984C3876-5EB0-4128-941F-A41CFFC48CB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0384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05916D17-B1E3-47D4-8BC4-E78AD9A2406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5179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5996CCE-39F9-4648-AAA0-7771838961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9975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DD005556-E6E2-4378-A77A-0C37333BCB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47706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45DB8CA1-BE5D-49C2-AECC-FEBF7E156B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195661" y="479425"/>
                <a:ext cx="64983" cy="144689"/>
              </a:xfrm>
              <a:prstGeom prst="line">
                <a:avLst/>
              </a:prstGeom>
              <a:ln w="254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95E62A0-4FCC-4691-ACFE-6369E85DCC64}"/>
              </a:ext>
            </a:extLst>
          </p:cNvPr>
          <p:cNvCxnSpPr>
            <a:cxnSpLocks/>
          </p:cNvCxnSpPr>
          <p:nvPr/>
        </p:nvCxnSpPr>
        <p:spPr>
          <a:xfrm flipH="1">
            <a:off x="0" y="6250894"/>
            <a:ext cx="76581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EA76E7D3-BCD9-4F70-A292-4D72C36B3256}"/>
              </a:ext>
            </a:extLst>
          </p:cNvPr>
          <p:cNvSpPr/>
          <p:nvPr/>
        </p:nvSpPr>
        <p:spPr>
          <a:xfrm rot="10800000">
            <a:off x="10617200" y="5876240"/>
            <a:ext cx="1041400" cy="1389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CB9AEC28-4DD2-4AF7-B14A-B8BFDC0FF766}"/>
              </a:ext>
            </a:extLst>
          </p:cNvPr>
          <p:cNvGrpSpPr/>
          <p:nvPr/>
        </p:nvGrpSpPr>
        <p:grpSpPr>
          <a:xfrm>
            <a:off x="10290370" y="240716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44F892CF-B2F9-4C60-A64C-C020A1DC08CA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1636E57A-D01D-42A8-BECE-2E96E96C8245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A4C7A418-5239-42DD-9E4D-384ED8AE7ACF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AFFF8417-69BC-41D3-ACF1-13B7971AAD4B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A87CBE65-19A3-4566-B00F-5E3C0DD05387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8250676E-96B7-48A4-A22D-99645176680F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E30EC6AE-A548-45BE-93D5-E00568BF96C3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FF0BF7B9-8999-4FB7-A199-8836519052A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A9612908-19EB-49EF-B3C7-0E338586477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5BAC422E-1821-405F-886D-D107218C4DDB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2902ED88-79B8-481F-A9A6-3774D2D8B14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328FC026-FCAD-4275-A4DD-2D80918FDE9E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6C9A9BF7-B53C-4663-BB99-0780858CFEC6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357B376E-C214-4BBB-BB06-B4DD0A2D95C1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7C257949-7C9A-4A30-8AB6-03EDC0DFDDA7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6709F7C6-6CF6-4A94-B3C1-05DB813812E3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0A2508DB-5B97-41C3-BBA6-50B2C1C8A47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7F0F9A97-F3D9-43B4-A574-8DF8EC2FE52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1F73DA61-197D-4896-9EC5-D1F399DD00AF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3CAD2D7B-E6A9-45B0-BE38-FF18F376A3B3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6F316F40-564E-4A86-ADCF-9B3B4887AF4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B310F663-EB9F-48B5-A17E-4D9EC6FE41DD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73AD6FC6-5D34-4AEB-A13B-5E0CE8301204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E7181845-BDF5-4124-98D1-7D2E837C86A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372215F4-20D9-47C7-9D8A-B911901699A0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919A75B5-0D9A-4964-B898-272C914C7D2C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98778C59-3501-4265-8D7C-81BA82E9171E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4ADECC65-B551-4EA0-B657-DA7E021D2EA7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2B1BEDA6-DDCA-4B16-AF8C-3473A6DA17DD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E7DB1866-E957-4D4C-9028-42C9E8C3530A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1D1D147E-61D0-4678-8976-766319C1E549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1D864666-F2A0-4281-B553-760A9C0AAC36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3C16FE37-8F27-4C65-8E06-C67823D23AEB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DFCF223C-F9BA-4462-8652-CDBD974886FD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47014D9-30E2-4267-8FBD-224AC2DDC029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1CF3F0B9-1357-453B-8A6C-9076486848B6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CA33328-A29D-45EC-8253-B03112D04367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B7A888BB-F40A-4C6C-AE9F-78119CF16EB4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C8C9E97-7C06-4BF5-83BD-75A91EB92DB8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13E7E242-F155-4DFE-820E-C93D00D375E1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77D2170-A5A1-494F-9C37-D3D66C7263B7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335D64E3-26E6-4435-9FBE-356D09886481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E82067F-FB23-4985-8F9F-955C80702EC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20A3F1CA-5E31-4681-9C26-CC4DF141494A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1C15D581-D6A8-418B-AE07-54726A0837AF}"/>
              </a:ext>
            </a:extLst>
          </p:cNvPr>
          <p:cNvCxnSpPr>
            <a:cxnSpLocks/>
          </p:cNvCxnSpPr>
          <p:nvPr/>
        </p:nvCxnSpPr>
        <p:spPr>
          <a:xfrm flipH="1">
            <a:off x="0" y="6530294"/>
            <a:ext cx="5461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A7CA19B-05FB-4353-B3FA-CD3F8E7C57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815" y="1373706"/>
            <a:ext cx="10472929" cy="418566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07ADB4CD-B731-4134-8908-0D9BEAAE8CBC}"/>
              </a:ext>
            </a:extLst>
          </p:cNvPr>
          <p:cNvSpPr/>
          <p:nvPr/>
        </p:nvSpPr>
        <p:spPr>
          <a:xfrm>
            <a:off x="4072253" y="351824"/>
            <a:ext cx="4380355" cy="650570"/>
          </a:xfrm>
          <a:prstGeom prst="rect">
            <a:avLst/>
          </a:prstGeom>
          <a:pattFill prst="dkDnDiag">
            <a:fgClr>
              <a:schemeClr val="accent6"/>
            </a:fgClr>
            <a:bgClr>
              <a:schemeClr val="accent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Title 1">
            <a:extLst>
              <a:ext uri="{FF2B5EF4-FFF2-40B4-BE49-F238E27FC236}">
                <a16:creationId xmlns:a16="http://schemas.microsoft.com/office/drawing/2014/main" id="{7A6DF9D3-D93A-476F-8633-CD0D63D30331}"/>
              </a:ext>
            </a:extLst>
          </p:cNvPr>
          <p:cNvSpPr txBox="1">
            <a:spLocks/>
          </p:cNvSpPr>
          <p:nvPr/>
        </p:nvSpPr>
        <p:spPr>
          <a:xfrm>
            <a:off x="4512071" y="400110"/>
            <a:ext cx="3593175" cy="5539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posed Model</a:t>
            </a:r>
          </a:p>
        </p:txBody>
      </p:sp>
    </p:spTree>
    <p:extLst>
      <p:ext uri="{BB962C8B-B14F-4D97-AF65-F5344CB8AC3E}">
        <p14:creationId xmlns:p14="http://schemas.microsoft.com/office/powerpoint/2010/main" val="3793709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56FEF2D-1419-4639-A8F5-BFD25A8845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36067"/>
            <a:ext cx="5501490" cy="3421932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02AA717-9E0F-1E44-BB08-3BFEA555F2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3467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3D2201F-1B2A-334B-8ABE-EFD0BF87B23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89" t="-851" r="13508"/>
          <a:stretch/>
        </p:blipFill>
        <p:spPr>
          <a:xfrm>
            <a:off x="4710896" y="-2"/>
            <a:ext cx="7481104" cy="6858001"/>
          </a:xfrm>
          <a:prstGeom prst="rect">
            <a:avLst/>
          </a:prstGeom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0938CD37-A1B7-7542-ACD2-A4E068074ECC}"/>
              </a:ext>
            </a:extLst>
          </p:cNvPr>
          <p:cNvSpPr/>
          <p:nvPr/>
        </p:nvSpPr>
        <p:spPr>
          <a:xfrm>
            <a:off x="-1" y="-1"/>
            <a:ext cx="3392908" cy="2478506"/>
          </a:xfrm>
          <a:custGeom>
            <a:avLst/>
            <a:gdLst>
              <a:gd name="connsiteX0" fmla="*/ 0 w 3392908"/>
              <a:gd name="connsiteY0" fmla="*/ 0 h 2478506"/>
              <a:gd name="connsiteX1" fmla="*/ 3369087 w 3392908"/>
              <a:gd name="connsiteY1" fmla="*/ 0 h 2478506"/>
              <a:gd name="connsiteX2" fmla="*/ 3381686 w 3392908"/>
              <a:gd name="connsiteY2" fmla="*/ 82552 h 2478506"/>
              <a:gd name="connsiteX3" fmla="*/ 3392908 w 3392908"/>
              <a:gd name="connsiteY3" fmla="*/ 304801 h 2478506"/>
              <a:gd name="connsiteX4" fmla="*/ 1219202 w 3392908"/>
              <a:gd name="connsiteY4" fmla="*/ 2478506 h 2478506"/>
              <a:gd name="connsiteX5" fmla="*/ 3862 w 3392908"/>
              <a:gd name="connsiteY5" fmla="*/ 2107271 h 2478506"/>
              <a:gd name="connsiteX6" fmla="*/ 0 w 3392908"/>
              <a:gd name="connsiteY6" fmla="*/ 2104383 h 2478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92908" h="2478506">
                <a:moveTo>
                  <a:pt x="0" y="0"/>
                </a:moveTo>
                <a:lnTo>
                  <a:pt x="3369087" y="0"/>
                </a:lnTo>
                <a:lnTo>
                  <a:pt x="3381686" y="82552"/>
                </a:lnTo>
                <a:cubicBezTo>
                  <a:pt x="3389107" y="155626"/>
                  <a:pt x="3392908" y="229770"/>
                  <a:pt x="3392908" y="304801"/>
                </a:cubicBezTo>
                <a:cubicBezTo>
                  <a:pt x="3392908" y="1505305"/>
                  <a:pt x="2419707" y="2478506"/>
                  <a:pt x="1219202" y="2478506"/>
                </a:cubicBezTo>
                <a:cubicBezTo>
                  <a:pt x="769013" y="2478506"/>
                  <a:pt x="350788" y="2341650"/>
                  <a:pt x="3862" y="2107271"/>
                </a:cubicBezTo>
                <a:lnTo>
                  <a:pt x="0" y="2104383"/>
                </a:lnTo>
                <a:close/>
              </a:path>
            </a:pathLst>
          </a:custGeom>
          <a:pattFill prst="dkUpDiag">
            <a:fgClr>
              <a:schemeClr val="accent6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Pie 13">
            <a:extLst>
              <a:ext uri="{FF2B5EF4-FFF2-40B4-BE49-F238E27FC236}">
                <a16:creationId xmlns:a16="http://schemas.microsoft.com/office/drawing/2014/main" id="{02BDD5EC-8093-B249-951C-F5B54185F516}"/>
              </a:ext>
            </a:extLst>
          </p:cNvPr>
          <p:cNvSpPr/>
          <p:nvPr/>
        </p:nvSpPr>
        <p:spPr>
          <a:xfrm>
            <a:off x="-946936" y="-1736321"/>
            <a:ext cx="4998838" cy="4998885"/>
          </a:xfrm>
          <a:custGeom>
            <a:avLst/>
            <a:gdLst>
              <a:gd name="connsiteX0" fmla="*/ 3234812 w 4998564"/>
              <a:gd name="connsiteY0" fmla="*/ 4887879 h 4998562"/>
              <a:gd name="connsiteX1" fmla="*/ 286912 w 4998564"/>
              <a:gd name="connsiteY1" fmla="*/ 3661963 h 4998562"/>
              <a:gd name="connsiteX2" fmla="*/ 949190 w 4998564"/>
              <a:gd name="connsiteY2" fmla="*/ 538764 h 4998562"/>
              <a:gd name="connsiteX3" fmla="*/ 4140930 w 4998564"/>
              <a:gd name="connsiteY3" fmla="*/ 614765 h 4998562"/>
              <a:gd name="connsiteX4" fmla="*/ 4653804 w 4998564"/>
              <a:gd name="connsiteY4" fmla="*/ 3765946 h 4998562"/>
              <a:gd name="connsiteX5" fmla="*/ 2499282 w 4998564"/>
              <a:gd name="connsiteY5" fmla="*/ 2499281 h 4998562"/>
              <a:gd name="connsiteX6" fmla="*/ 3234812 w 4998564"/>
              <a:gd name="connsiteY6" fmla="*/ 4887879 h 4998562"/>
              <a:gd name="connsiteX0" fmla="*/ 2499449 w 4998838"/>
              <a:gd name="connsiteY0" fmla="*/ 2499284 h 4998885"/>
              <a:gd name="connsiteX1" fmla="*/ 3234979 w 4998838"/>
              <a:gd name="connsiteY1" fmla="*/ 4887882 h 4998885"/>
              <a:gd name="connsiteX2" fmla="*/ 287079 w 4998838"/>
              <a:gd name="connsiteY2" fmla="*/ 3661966 h 4998885"/>
              <a:gd name="connsiteX3" fmla="*/ 949357 w 4998838"/>
              <a:gd name="connsiteY3" fmla="*/ 538767 h 4998885"/>
              <a:gd name="connsiteX4" fmla="*/ 4141097 w 4998838"/>
              <a:gd name="connsiteY4" fmla="*/ 614768 h 4998885"/>
              <a:gd name="connsiteX5" fmla="*/ 4653971 w 4998838"/>
              <a:gd name="connsiteY5" fmla="*/ 3765949 h 4998885"/>
              <a:gd name="connsiteX6" fmla="*/ 2590889 w 4998838"/>
              <a:gd name="connsiteY6" fmla="*/ 2590724 h 4998885"/>
              <a:gd name="connsiteX0" fmla="*/ 2499449 w 4998838"/>
              <a:gd name="connsiteY0" fmla="*/ 2499284 h 4998885"/>
              <a:gd name="connsiteX1" fmla="*/ 3234979 w 4998838"/>
              <a:gd name="connsiteY1" fmla="*/ 4887882 h 4998885"/>
              <a:gd name="connsiteX2" fmla="*/ 287079 w 4998838"/>
              <a:gd name="connsiteY2" fmla="*/ 3661966 h 4998885"/>
              <a:gd name="connsiteX3" fmla="*/ 949357 w 4998838"/>
              <a:gd name="connsiteY3" fmla="*/ 538767 h 4998885"/>
              <a:gd name="connsiteX4" fmla="*/ 4141097 w 4998838"/>
              <a:gd name="connsiteY4" fmla="*/ 614768 h 4998885"/>
              <a:gd name="connsiteX5" fmla="*/ 4653971 w 4998838"/>
              <a:gd name="connsiteY5" fmla="*/ 3765949 h 4998885"/>
              <a:gd name="connsiteX0" fmla="*/ 3234979 w 4998838"/>
              <a:gd name="connsiteY0" fmla="*/ 4887882 h 4998885"/>
              <a:gd name="connsiteX1" fmla="*/ 287079 w 4998838"/>
              <a:gd name="connsiteY1" fmla="*/ 3661966 h 4998885"/>
              <a:gd name="connsiteX2" fmla="*/ 949357 w 4998838"/>
              <a:gd name="connsiteY2" fmla="*/ 538767 h 4998885"/>
              <a:gd name="connsiteX3" fmla="*/ 4141097 w 4998838"/>
              <a:gd name="connsiteY3" fmla="*/ 614768 h 4998885"/>
              <a:gd name="connsiteX4" fmla="*/ 4653971 w 4998838"/>
              <a:gd name="connsiteY4" fmla="*/ 3765949 h 4998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8838" h="4998885">
                <a:moveTo>
                  <a:pt x="3234979" y="4887882"/>
                </a:moveTo>
                <a:cubicBezTo>
                  <a:pt x="2085370" y="5241885"/>
                  <a:pt x="846667" y="4726757"/>
                  <a:pt x="287079" y="3661966"/>
                </a:cubicBezTo>
                <a:cubicBezTo>
                  <a:pt x="-272509" y="2597174"/>
                  <a:pt x="5779" y="1284811"/>
                  <a:pt x="949357" y="538767"/>
                </a:cubicBezTo>
                <a:cubicBezTo>
                  <a:pt x="1892934" y="-207276"/>
                  <a:pt x="3234098" y="-175341"/>
                  <a:pt x="4141097" y="614768"/>
                </a:cubicBezTo>
                <a:cubicBezTo>
                  <a:pt x="5048096" y="1404877"/>
                  <a:pt x="5263605" y="2728999"/>
                  <a:pt x="4653971" y="376594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0076807-7D89-D94D-A9E4-3D5E86791186}"/>
              </a:ext>
            </a:extLst>
          </p:cNvPr>
          <p:cNvGrpSpPr/>
          <p:nvPr/>
        </p:nvGrpSpPr>
        <p:grpSpPr>
          <a:xfrm rot="5400000" flipV="1">
            <a:off x="10369639" y="4959439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D51AF75-0222-0B45-A207-1D5E861B9FA7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2FE1FEAF-DDDA-D241-8DA2-A1014C6CC09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D9604FB3-6A96-1045-89E5-21B7CEE3A855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8F925360-ADAA-3349-BFAE-A08391D387D8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1F54B677-943C-814A-9C69-38F397E4CEA5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1576B89F-988E-9F4B-84F2-741FE14BA8BD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49C06A74-21AF-1044-9D2B-6B0E0A9C63CE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896A7CE8-02A6-FE4A-A109-4B538B269D3A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BFF04BD9-98DF-E74B-92F9-EC28A57029AB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AC2F0CBC-8817-1749-A469-285039A13FF9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F6D74C5-A5D1-0F46-B149-B18C928DE172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4987CFE-15AF-C145-BECF-260D8E7EABF4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F57B2998-7236-B145-9C4B-F8B9A84D5421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CBD714E0-D9BB-E749-B0FB-A5C0946A574B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868D29D6-41C3-F04E-AEF1-9E81BCF6F1F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C8BB248-6BDC-C446-913E-A11E2C93FCAE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5E240DA3-CFD5-3A4A-83D0-FB8A8418971E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521D2625-BA21-8446-830D-79DB8D490A12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AA5BB190-0608-0143-88CB-E6420138D91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5D69FEB3-E7A7-CC4F-86C0-096D45D6795B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E0275379-E3C2-D348-954C-FB7C59B7045A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A808291E-37F2-7E4B-8D30-4B503B0FC685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932C8E5-9E2B-E247-979D-A0A8DC35DF54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72CC8675-0098-7241-B9BF-515637F15033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8D79CF3F-6898-904C-9CAC-6FB42FE0F2F2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ED01320-37EC-C54C-A4C8-1090FD1EFFF2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1D6A8934-3C8A-4647-AFEE-4BF033413450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7B55C238-06FF-5C43-83B7-B1A04880563C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39B88FA7-DBCA-D54B-AC67-50AF6F99B45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E29FC40A-0E91-6741-A118-DE217A3C3128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E49BED5A-A8D8-D54A-8DC0-578494F5C599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C33DD65E-9CFC-D641-9276-FB8DD03A6974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541D8FD5-B8BD-944A-ABB5-4D2A6410F971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D5952B0-5A65-7F4A-8B00-1C7A9A74F391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70DC0EF-6280-C14B-B94A-81EAEC08299E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EA3DA41-9104-224B-942C-64CF97499F1F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8E4D24E-1C8B-5746-962C-02EDBD0261BE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F5E1A0F4-CADB-FC4D-B3F2-A9C7145AE602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CD81B21-B984-934A-9F0F-0F342641DF1F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FBE9860-474E-754F-8048-A96015494260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D45563D-D934-2E4A-8096-43D105569E6C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D4227AEC-0415-3E4A-BC18-2F04D4851C7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39AE6E36-68B9-9A4D-A240-1BE77BF2E575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BC683DF1-6313-DD48-B3C3-86E357946F71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E80C463-D9D7-B449-954C-9840ABE67B1D}"/>
              </a:ext>
            </a:extLst>
          </p:cNvPr>
          <p:cNvGrpSpPr/>
          <p:nvPr/>
        </p:nvGrpSpPr>
        <p:grpSpPr>
          <a:xfrm>
            <a:off x="9810007" y="6248400"/>
            <a:ext cx="804758" cy="144689"/>
            <a:chOff x="4455886" y="479425"/>
            <a:chExt cx="804758" cy="144689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2080CD45-23ED-E343-BAE6-87A1586523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82808AE4-03AD-6843-A6D6-6B934387F3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C07B336B-3AE4-374D-8F05-D5113C03F16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F92AC2CF-166B-6D43-A4DB-BE028FFE73F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348DF2A-CC24-4E42-96BE-A8B826B04F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67314B8-E420-1744-822A-88745508ED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5BDE34-0440-4C52-928E-00D320F7C1BF}"/>
              </a:ext>
            </a:extLst>
          </p:cNvPr>
          <p:cNvCxnSpPr>
            <a:cxnSpLocks/>
          </p:cNvCxnSpPr>
          <p:nvPr/>
        </p:nvCxnSpPr>
        <p:spPr>
          <a:xfrm>
            <a:off x="4953965" y="-2"/>
            <a:ext cx="0" cy="5431559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B369606-45BF-470F-852B-38E10F358F0C}"/>
              </a:ext>
            </a:extLst>
          </p:cNvPr>
          <p:cNvCxnSpPr>
            <a:cxnSpLocks/>
          </p:cNvCxnSpPr>
          <p:nvPr/>
        </p:nvCxnSpPr>
        <p:spPr>
          <a:xfrm>
            <a:off x="5141088" y="1791236"/>
            <a:ext cx="0" cy="506676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1406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A22DA84-B91B-CD43-8F58-19BCA1F1F1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102" b="1152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A1AF8F0-1614-0C43-ABF1-41F63850555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3000"/>
                </a:schemeClr>
              </a:gs>
              <a:gs pos="100000">
                <a:schemeClr val="tx1">
                  <a:alpha val="95000"/>
                </a:schemeClr>
              </a:gs>
              <a:gs pos="49000">
                <a:schemeClr val="tx1">
                  <a:alpha val="77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46DD3116-A2A1-954B-9C2E-9E657E204095}"/>
              </a:ext>
            </a:extLst>
          </p:cNvPr>
          <p:cNvSpPr/>
          <p:nvPr/>
        </p:nvSpPr>
        <p:spPr>
          <a:xfrm rot="8842661">
            <a:off x="-1323025" y="-478384"/>
            <a:ext cx="3607535" cy="2277770"/>
          </a:xfrm>
          <a:custGeom>
            <a:avLst/>
            <a:gdLst>
              <a:gd name="connsiteX0" fmla="*/ 1073578 w 2147156"/>
              <a:gd name="connsiteY0" fmla="*/ 0 h 1355698"/>
              <a:gd name="connsiteX1" fmla="*/ 2147156 w 2147156"/>
              <a:gd name="connsiteY1" fmla="*/ 1073578 h 1355698"/>
              <a:gd name="connsiteX2" fmla="*/ 2125345 w 2147156"/>
              <a:gd name="connsiteY2" fmla="*/ 1289942 h 1355698"/>
              <a:gd name="connsiteX3" fmla="*/ 2104933 w 2147156"/>
              <a:gd name="connsiteY3" fmla="*/ 1355698 h 1355698"/>
              <a:gd name="connsiteX4" fmla="*/ 42224 w 2147156"/>
              <a:gd name="connsiteY4" fmla="*/ 1355698 h 1355698"/>
              <a:gd name="connsiteX5" fmla="*/ 21812 w 2147156"/>
              <a:gd name="connsiteY5" fmla="*/ 1289942 h 1355698"/>
              <a:gd name="connsiteX6" fmla="*/ 0 w 2147156"/>
              <a:gd name="connsiteY6" fmla="*/ 1073578 h 1355698"/>
              <a:gd name="connsiteX7" fmla="*/ 1073578 w 2147156"/>
              <a:gd name="connsiteY7" fmla="*/ 0 h 1355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7156" h="1355698">
                <a:moveTo>
                  <a:pt x="1073578" y="0"/>
                </a:moveTo>
                <a:cubicBezTo>
                  <a:pt x="1666499" y="0"/>
                  <a:pt x="2147156" y="480657"/>
                  <a:pt x="2147156" y="1073578"/>
                </a:cubicBezTo>
                <a:cubicBezTo>
                  <a:pt x="2147156" y="1147693"/>
                  <a:pt x="2139646" y="1220054"/>
                  <a:pt x="2125345" y="1289942"/>
                </a:cubicBezTo>
                <a:lnTo>
                  <a:pt x="2104933" y="1355698"/>
                </a:lnTo>
                <a:lnTo>
                  <a:pt x="42224" y="1355698"/>
                </a:lnTo>
                <a:lnTo>
                  <a:pt x="21812" y="1289942"/>
                </a:lnTo>
                <a:cubicBezTo>
                  <a:pt x="7511" y="1220054"/>
                  <a:pt x="0" y="1147693"/>
                  <a:pt x="0" y="1073578"/>
                </a:cubicBezTo>
                <a:cubicBezTo>
                  <a:pt x="0" y="480657"/>
                  <a:pt x="480657" y="0"/>
                  <a:pt x="1073578" y="0"/>
                </a:cubicBezTo>
                <a:close/>
              </a:path>
            </a:pathLst>
          </a:custGeom>
          <a:pattFill prst="dkUpDiag">
            <a:fgClr>
              <a:schemeClr val="accent6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5D2FA9-8199-9B4A-BE4B-B833F91F7241}"/>
              </a:ext>
            </a:extLst>
          </p:cNvPr>
          <p:cNvSpPr/>
          <p:nvPr/>
        </p:nvSpPr>
        <p:spPr>
          <a:xfrm>
            <a:off x="380922" y="265634"/>
            <a:ext cx="1765681" cy="176568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947F8F6-8150-8D47-A50A-67ED356EC45C}"/>
              </a:ext>
            </a:extLst>
          </p:cNvPr>
          <p:cNvGrpSpPr/>
          <p:nvPr/>
        </p:nvGrpSpPr>
        <p:grpSpPr>
          <a:xfrm rot="16200000">
            <a:off x="10369639" y="968209"/>
            <a:ext cx="1729654" cy="848268"/>
            <a:chOff x="233739" y="283295"/>
            <a:chExt cx="1729654" cy="848268"/>
          </a:xfrm>
          <a:gradFill>
            <a:gsLst>
              <a:gs pos="100000">
                <a:schemeClr val="accent6"/>
              </a:gs>
              <a:gs pos="0">
                <a:schemeClr val="tx1">
                  <a:alpha val="0"/>
                </a:schemeClr>
              </a:gs>
            </a:gsLst>
            <a:lin ang="0" scaled="1"/>
          </a:gradFill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8C4EE4F-5F44-BF4E-BDA3-ED06FB653C6D}"/>
                </a:ext>
              </a:extLst>
            </p:cNvPr>
            <p:cNvGrpSpPr/>
            <p:nvPr/>
          </p:nvGrpSpPr>
          <p:grpSpPr>
            <a:xfrm rot="5400000">
              <a:off x="1055270" y="-538236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E453E70-BF51-8847-AA73-80B532CAFD01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2E8337BE-8A05-7847-A3F9-3A2DE3B3F178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2A09BAE2-CB14-0943-AEC2-985B550FB2D3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01E4245E-61D4-734F-B526-D15D7BFD44E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6E17998-9359-9941-98AE-931578E76F54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0A381E0-03E3-1C45-9A27-4EBAC001352B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16520B5-967E-7345-B04C-FE001F3EAB22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5E47508-E8B0-D14B-8AE7-765395822D36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F8F96DB1-9537-8045-A358-2DDF8CD2A26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663C7C44-39D6-FF46-AC66-CC44A2DBD743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4623F9E-D2B5-D143-9AA7-DFF9EDEF7C92}"/>
                </a:ext>
              </a:extLst>
            </p:cNvPr>
            <p:cNvGrpSpPr/>
            <p:nvPr/>
          </p:nvGrpSpPr>
          <p:grpSpPr>
            <a:xfrm rot="5400000">
              <a:off x="1055270" y="-284344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63554EB-9A6E-9347-8923-F3E012A6B0FC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470FDF8-325F-274A-9656-5B2881D25FF3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A80DCA34-32A1-4948-AE2B-DF62A620896D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1CC35BE3-2F0F-624B-8F38-94141F492BC6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65A7879-F9E6-834A-A297-6C9A068DA2D3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1406F3C-3EF2-1E42-BDBD-9D92D55F829C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3CB10D75-CD94-7E49-ADFD-2AD53FE00888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5B2FC0DE-B888-614B-9BC1-6D472D4A7264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14D730F-663D-A348-80D7-8508CA3E6C7A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FAC79C28-87DE-7C4A-9C4B-5101A9B94768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E5603E1-A786-2B48-8EF5-5C8D8CFAE179}"/>
                </a:ext>
              </a:extLst>
            </p:cNvPr>
            <p:cNvGrpSpPr/>
            <p:nvPr/>
          </p:nvGrpSpPr>
          <p:grpSpPr>
            <a:xfrm rot="5400000">
              <a:off x="1055270" y="-30452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B79BCF63-DEFA-9D47-AC6D-5F62355B9230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0B150B1E-465E-5745-BCDF-3A163D720511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3D2B3F97-D8B3-9440-B32F-0D44023A45D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7D5430A7-8E07-6040-A888-771CC57A9CB3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E7453AD-756C-7840-90DF-BC32F20A94A0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894FBA40-E8D4-F844-B2FA-6FE1FBAABA49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787BEF26-7693-6C4A-B5A9-E602B97E0739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C3FBEE5B-FB6F-514D-83AD-82F5F747E062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B0FE0A60-4315-EB44-BF3E-B7ECFA570B81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8BCB9361-9641-BE44-9F72-D5BA97313EC4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F2CC866-5034-784D-A764-BA743ABB27B6}"/>
                </a:ext>
              </a:extLst>
            </p:cNvPr>
            <p:cNvGrpSpPr/>
            <p:nvPr/>
          </p:nvGrpSpPr>
          <p:grpSpPr>
            <a:xfrm rot="5400000">
              <a:off x="1055270" y="223441"/>
              <a:ext cx="86591" cy="1729654"/>
              <a:chOff x="85292" y="59892"/>
              <a:chExt cx="86591" cy="1729654"/>
            </a:xfrm>
            <a:grpFill/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DCE7480-432A-5042-81CA-81FEABAA1B03}"/>
                  </a:ext>
                </a:extLst>
              </p:cNvPr>
              <p:cNvSpPr/>
              <p:nvPr/>
            </p:nvSpPr>
            <p:spPr>
              <a:xfrm>
                <a:off x="85292" y="59892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2A0342B2-5EB4-B54C-B205-F06649EB7958}"/>
                  </a:ext>
                </a:extLst>
              </p:cNvPr>
              <p:cNvSpPr/>
              <p:nvPr/>
            </p:nvSpPr>
            <p:spPr>
              <a:xfrm>
                <a:off x="85292" y="2424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468AA06-93DB-BA42-9A41-1490228440BF}"/>
                  </a:ext>
                </a:extLst>
              </p:cNvPr>
              <p:cNvSpPr/>
              <p:nvPr/>
            </p:nvSpPr>
            <p:spPr>
              <a:xfrm>
                <a:off x="85292" y="425018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48DD3B6-5B06-504D-949F-77F94FCF6C48}"/>
                  </a:ext>
                </a:extLst>
              </p:cNvPr>
              <p:cNvSpPr/>
              <p:nvPr/>
            </p:nvSpPr>
            <p:spPr>
              <a:xfrm>
                <a:off x="85292" y="607581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FCB91D84-0E08-4245-B805-B744B1290B39}"/>
                  </a:ext>
                </a:extLst>
              </p:cNvPr>
              <p:cNvSpPr/>
              <p:nvPr/>
            </p:nvSpPr>
            <p:spPr>
              <a:xfrm>
                <a:off x="85292" y="790144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1E0F4C35-D658-6748-9D6F-0F104BB8A795}"/>
                  </a:ext>
                </a:extLst>
              </p:cNvPr>
              <p:cNvSpPr/>
              <p:nvPr/>
            </p:nvSpPr>
            <p:spPr>
              <a:xfrm>
                <a:off x="85292" y="972707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1DA6A7D2-B516-3C4F-9253-6EEF581AA156}"/>
                  </a:ext>
                </a:extLst>
              </p:cNvPr>
              <p:cNvSpPr/>
              <p:nvPr/>
            </p:nvSpPr>
            <p:spPr>
              <a:xfrm>
                <a:off x="85292" y="1155270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ADCE85E0-11D8-4D4A-A1DB-F0D741E3CF9E}"/>
                  </a:ext>
                </a:extLst>
              </p:cNvPr>
              <p:cNvSpPr/>
              <p:nvPr/>
            </p:nvSpPr>
            <p:spPr>
              <a:xfrm>
                <a:off x="85292" y="1337833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A566126-4BB0-9F49-ADAE-BEC96F26DF67}"/>
                  </a:ext>
                </a:extLst>
              </p:cNvPr>
              <p:cNvSpPr/>
              <p:nvPr/>
            </p:nvSpPr>
            <p:spPr>
              <a:xfrm>
                <a:off x="85292" y="1520396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646EAA6E-C917-DB4D-A783-434D0CC6F3C0}"/>
                  </a:ext>
                </a:extLst>
              </p:cNvPr>
              <p:cNvSpPr/>
              <p:nvPr/>
            </p:nvSpPr>
            <p:spPr>
              <a:xfrm>
                <a:off x="85292" y="1702955"/>
                <a:ext cx="86591" cy="8659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FD691B93-BF1F-E740-8DC6-C8BADC354CDB}"/>
              </a:ext>
            </a:extLst>
          </p:cNvPr>
          <p:cNvSpPr/>
          <p:nvPr/>
        </p:nvSpPr>
        <p:spPr>
          <a:xfrm>
            <a:off x="-1048007" y="4212473"/>
            <a:ext cx="4731472" cy="4731472"/>
          </a:xfrm>
          <a:prstGeom prst="ellipse">
            <a:avLst/>
          </a:prstGeom>
          <a:noFill/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A219798-1F13-7349-A35C-991813EA3A66}"/>
              </a:ext>
            </a:extLst>
          </p:cNvPr>
          <p:cNvGrpSpPr/>
          <p:nvPr/>
        </p:nvGrpSpPr>
        <p:grpSpPr>
          <a:xfrm>
            <a:off x="4506114" y="6103711"/>
            <a:ext cx="804758" cy="144689"/>
            <a:chOff x="4455886" y="479425"/>
            <a:chExt cx="804758" cy="14468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1EFFE08F-1DF3-D542-B05D-ECCC7B8C68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5588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1490F-F5AC-6E49-82D1-A1B5F2595AD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0384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10A19DE-8BAB-E440-908E-095411DAAD0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5179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874A885-6E8A-0F42-9622-8B96E8DC69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975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C564DD1-E623-1D49-BC85-489F41E9E2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7706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5CDC93A0-5606-C349-82CF-64D2F98ECF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661" y="479425"/>
              <a:ext cx="64983" cy="144689"/>
            </a:xfrm>
            <a:prstGeom prst="line">
              <a:avLst/>
            </a:pr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F25E223-7EBA-5D43-A579-49B87D6A55AD}"/>
              </a:ext>
            </a:extLst>
          </p:cNvPr>
          <p:cNvCxnSpPr>
            <a:cxnSpLocks/>
          </p:cNvCxnSpPr>
          <p:nvPr/>
        </p:nvCxnSpPr>
        <p:spPr>
          <a:xfrm>
            <a:off x="5581650" y="6176055"/>
            <a:ext cx="66103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43869B81-A336-48AE-A4A9-AAC3F817FB16}"/>
              </a:ext>
            </a:extLst>
          </p:cNvPr>
          <p:cNvSpPr txBox="1"/>
          <p:nvPr/>
        </p:nvSpPr>
        <p:spPr>
          <a:xfrm>
            <a:off x="4363897" y="1075205"/>
            <a:ext cx="699706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DWARE REQUIREMENTS (minimum requirement):</a:t>
            </a:r>
          </a:p>
          <a:p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RAM: - 1GB or more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d Disk: - 40 GB or more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or: - Intel Pentium 3 or above</a:t>
            </a:r>
          </a:p>
          <a:p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WARE REQUIREMENTS (minimum requirement):</a:t>
            </a:r>
          </a:p>
          <a:p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ng system: Windows 2000/2008 / 2010 /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/ XP/ Vista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zing Software: Dev C++, Code blocks etc.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iler : Standard C++ Compiler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omposer : Microsoft office progra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0F1895-6F62-41CE-B1BF-292AC22FCFCC}"/>
              </a:ext>
            </a:extLst>
          </p:cNvPr>
          <p:cNvSpPr/>
          <p:nvPr/>
        </p:nvSpPr>
        <p:spPr>
          <a:xfrm rot="16200000">
            <a:off x="183769" y="1990070"/>
            <a:ext cx="7230274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40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System Requiremen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6F2608-8EEF-48D7-A096-1024B6E0F0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89" y="4064376"/>
            <a:ext cx="3119996" cy="311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3811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C1F41D-5E8B-46C6-82EB-F30F0BE9E412}"/>
              </a:ext>
            </a:extLst>
          </p:cNvPr>
          <p:cNvSpPr txBox="1"/>
          <p:nvPr/>
        </p:nvSpPr>
        <p:spPr>
          <a:xfrm>
            <a:off x="4390373" y="2828835"/>
            <a:ext cx="34112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  <a:latin typeface="+mj-lt"/>
              </a:rPr>
              <a:t>RESULT</a:t>
            </a:r>
          </a:p>
        </p:txBody>
      </p:sp>
    </p:spTree>
    <p:extLst>
      <p:ext uri="{BB962C8B-B14F-4D97-AF65-F5344CB8AC3E}">
        <p14:creationId xmlns:p14="http://schemas.microsoft.com/office/powerpoint/2010/main" val="27465766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heme/theme1.xml><?xml version="1.0" encoding="utf-8"?>
<a:theme xmlns:a="http://schemas.openxmlformats.org/drawingml/2006/main" name="Office Theme">
  <a:themeElements>
    <a:clrScheme name="Custom 3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C0D0C"/>
      </a:accent1>
      <a:accent2>
        <a:srgbClr val="252625"/>
      </a:accent2>
      <a:accent3>
        <a:srgbClr val="3F403F"/>
      </a:accent3>
      <a:accent4>
        <a:srgbClr val="727372"/>
      </a:accent4>
      <a:accent5>
        <a:srgbClr val="D8D9D8"/>
      </a:accent5>
      <a:accent6>
        <a:srgbClr val="A38A60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7</TotalTime>
  <Words>728</Words>
  <Application>Microsoft Office PowerPoint</Application>
  <PresentationFormat>Widescreen</PresentationFormat>
  <Paragraphs>128</Paragraphs>
  <Slides>1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con Rounded-</vt:lpstr>
      <vt:lpstr>Arial</vt:lpstr>
      <vt:lpstr>Calibri</vt:lpstr>
      <vt:lpstr>Segoe UI</vt:lpstr>
      <vt:lpstr>Segoe UI Bold</vt:lpstr>
      <vt:lpstr>Segoe UI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2</dc:creator>
  <cp:lastModifiedBy>Zobayer Hasan</cp:lastModifiedBy>
  <cp:revision>42</cp:revision>
  <dcterms:created xsi:type="dcterms:W3CDTF">2020-12-30T02:56:23Z</dcterms:created>
  <dcterms:modified xsi:type="dcterms:W3CDTF">2021-03-17T08:28:55Z</dcterms:modified>
</cp:coreProperties>
</file>